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4018" r:id="rId4"/>
  </p:sldMasterIdLst>
  <p:notesMasterIdLst>
    <p:notesMasterId r:id="rId6"/>
  </p:notesMasterIdLst>
  <p:sldIdLst>
    <p:sldId id="288" r:id="rId5"/>
  </p:sldIdLst>
  <p:sldSz cx="9144000" cy="5143500" type="screen16x9"/>
  <p:notesSz cx="7315200" cy="9601200"/>
  <p:custDataLst>
    <p:tags r:id="rId7"/>
  </p:custDataLst>
  <p:defaultTextStyle>
    <a:defPPr>
      <a:defRPr lang="en-US"/>
    </a:defPPr>
    <a:lvl1pPr marL="0" algn="l" defTabSz="257174" rtl="0" eaLnBrk="1" latinLnBrk="0" hangingPunct="1">
      <a:defRPr sz="506" kern="1200">
        <a:solidFill>
          <a:schemeClr val="tx1"/>
        </a:solidFill>
        <a:latin typeface="+mn-lt"/>
        <a:ea typeface="+mn-ea"/>
        <a:cs typeface="+mn-cs"/>
      </a:defRPr>
    </a:lvl1pPr>
    <a:lvl2pPr marL="128587" algn="l" defTabSz="257174" rtl="0" eaLnBrk="1" latinLnBrk="0" hangingPunct="1">
      <a:defRPr sz="506" kern="1200">
        <a:solidFill>
          <a:schemeClr val="tx1"/>
        </a:solidFill>
        <a:latin typeface="+mn-lt"/>
        <a:ea typeface="+mn-ea"/>
        <a:cs typeface="+mn-cs"/>
      </a:defRPr>
    </a:lvl2pPr>
    <a:lvl3pPr marL="257174" algn="l" defTabSz="257174" rtl="0" eaLnBrk="1" latinLnBrk="0" hangingPunct="1">
      <a:defRPr sz="506" kern="1200">
        <a:solidFill>
          <a:schemeClr val="tx1"/>
        </a:solidFill>
        <a:latin typeface="+mn-lt"/>
        <a:ea typeface="+mn-ea"/>
        <a:cs typeface="+mn-cs"/>
      </a:defRPr>
    </a:lvl3pPr>
    <a:lvl4pPr marL="385760" algn="l" defTabSz="257174" rtl="0" eaLnBrk="1" latinLnBrk="0" hangingPunct="1">
      <a:defRPr sz="506" kern="1200">
        <a:solidFill>
          <a:schemeClr val="tx1"/>
        </a:solidFill>
        <a:latin typeface="+mn-lt"/>
        <a:ea typeface="+mn-ea"/>
        <a:cs typeface="+mn-cs"/>
      </a:defRPr>
    </a:lvl4pPr>
    <a:lvl5pPr marL="514346" algn="l" defTabSz="257174" rtl="0" eaLnBrk="1" latinLnBrk="0" hangingPunct="1">
      <a:defRPr sz="506" kern="1200">
        <a:solidFill>
          <a:schemeClr val="tx1"/>
        </a:solidFill>
        <a:latin typeface="+mn-lt"/>
        <a:ea typeface="+mn-ea"/>
        <a:cs typeface="+mn-cs"/>
      </a:defRPr>
    </a:lvl5pPr>
    <a:lvl6pPr marL="642932" algn="l" defTabSz="257174" rtl="0" eaLnBrk="1" latinLnBrk="0" hangingPunct="1">
      <a:defRPr sz="506" kern="1200">
        <a:solidFill>
          <a:schemeClr val="tx1"/>
        </a:solidFill>
        <a:latin typeface="+mn-lt"/>
        <a:ea typeface="+mn-ea"/>
        <a:cs typeface="+mn-cs"/>
      </a:defRPr>
    </a:lvl6pPr>
    <a:lvl7pPr marL="771519" algn="l" defTabSz="257174" rtl="0" eaLnBrk="1" latinLnBrk="0" hangingPunct="1">
      <a:defRPr sz="506" kern="1200">
        <a:solidFill>
          <a:schemeClr val="tx1"/>
        </a:solidFill>
        <a:latin typeface="+mn-lt"/>
        <a:ea typeface="+mn-ea"/>
        <a:cs typeface="+mn-cs"/>
      </a:defRPr>
    </a:lvl7pPr>
    <a:lvl8pPr marL="900105" algn="l" defTabSz="257174" rtl="0" eaLnBrk="1" latinLnBrk="0" hangingPunct="1">
      <a:defRPr sz="506" kern="1200">
        <a:solidFill>
          <a:schemeClr val="tx1"/>
        </a:solidFill>
        <a:latin typeface="+mn-lt"/>
        <a:ea typeface="+mn-ea"/>
        <a:cs typeface="+mn-cs"/>
      </a:defRPr>
    </a:lvl8pPr>
    <a:lvl9pPr marL="1028693" algn="l" defTabSz="257174" rtl="0" eaLnBrk="1" latinLnBrk="0" hangingPunct="1">
      <a:defRPr sz="50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D8DB34-067F-241F-5D0E-579432D79120}" name="Kate Regnier" initials="KR" userId="S::kregnier@accme.org::9bb3a224-0264-44dd-8250-9bfdb9f85a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D74B"/>
    <a:srgbClr val="001A77"/>
    <a:srgbClr val="4A4A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85907" autoAdjust="0"/>
  </p:normalViewPr>
  <p:slideViewPr>
    <p:cSldViewPr snapToGrid="0">
      <p:cViewPr varScale="1">
        <p:scale>
          <a:sx n="69" d="100"/>
          <a:sy n="69" d="100"/>
        </p:scale>
        <p:origin x="810" y="72"/>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8/10/relationships/authors" Targe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DE3B432-AB07-43CD-B44E-44BF85BF4F69}" type="datetimeFigureOut">
              <a:rPr lang="en-GB" smtClean="0"/>
              <a:t>03/03/2026</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GB"/>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1905270E-0B30-47FF-8362-BCCF757169DA}" type="slidenum">
              <a:rPr lang="en-GB" smtClean="0"/>
              <a:t>‹#›</a:t>
            </a:fld>
            <a:endParaRPr lang="en-GB"/>
          </a:p>
        </p:txBody>
      </p:sp>
    </p:spTree>
    <p:extLst>
      <p:ext uri="{BB962C8B-B14F-4D97-AF65-F5344CB8AC3E}">
        <p14:creationId xmlns:p14="http://schemas.microsoft.com/office/powerpoint/2010/main" val="14584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05270E-0B30-47FF-8362-BCCF757169DA}" type="slidenum">
              <a:rPr lang="en-GB" smtClean="0"/>
              <a:t>1</a:t>
            </a:fld>
            <a:endParaRPr lang="en-GB"/>
          </a:p>
        </p:txBody>
      </p:sp>
    </p:spTree>
    <p:extLst>
      <p:ext uri="{BB962C8B-B14F-4D97-AF65-F5344CB8AC3E}">
        <p14:creationId xmlns:p14="http://schemas.microsoft.com/office/powerpoint/2010/main" val="20857094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facebook.com/AccreditedCME" TargetMode="External"/><Relationship Id="rId3" Type="http://schemas.openxmlformats.org/officeDocument/2006/relationships/hyperlink" Target="https://www.instagram.com/accreditedcme/" TargetMode="External"/><Relationship Id="rId7"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hyperlink" Target="https://www.linkedin.com/company/accreditedcme" TargetMode="External"/><Relationship Id="rId5" Type="http://schemas.openxmlformats.org/officeDocument/2006/relationships/image" Target="../media/image15.png"/><Relationship Id="rId4" Type="http://schemas.openxmlformats.org/officeDocument/2006/relationships/image" Target="../media/image3.png"/><Relationship Id="rId9"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instagram.com/accreditedcme/" TargetMode="External"/><Relationship Id="rId3" Type="http://schemas.openxmlformats.org/officeDocument/2006/relationships/image" Target="../media/image16.png"/><Relationship Id="rId7" Type="http://schemas.openxmlformats.org/officeDocument/2006/relationships/hyperlink" Target="http://www.facebook.com/AccreditedCME" TargetMode="External"/><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hyperlink" Target="https://www.linkedin.com/company/accreditedcme" TargetMode="External"/><Relationship Id="rId5" Type="http://schemas.openxmlformats.org/officeDocument/2006/relationships/image" Target="../media/image17.png"/><Relationship Id="rId10" Type="http://schemas.openxmlformats.org/officeDocument/2006/relationships/image" Target="../media/image3.png"/><Relationship Id="rId4" Type="http://schemas.openxmlformats.org/officeDocument/2006/relationships/image" Target="../media/image14.png"/><Relationship Id="rId9" Type="http://schemas.openxmlformats.org/officeDocument/2006/relationships/hyperlink" Target="https://bsky.app/profile/accreditedcme.bsky.social"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7CF12C-3B33-2C22-A116-A10F1F437AB3}"/>
              </a:ext>
            </a:extLst>
          </p:cNvPr>
          <p:cNvSpPr>
            <a:spLocks noGrp="1"/>
          </p:cNvSpPr>
          <p:nvPr>
            <p:ph type="title"/>
          </p:nvPr>
        </p:nvSpPr>
        <p:spPr>
          <a:xfrm>
            <a:off x="285750" y="655742"/>
            <a:ext cx="4229100" cy="2101746"/>
          </a:xfrm>
          <a:prstGeom prst="rect">
            <a:avLst/>
          </a:prstGeom>
        </p:spPr>
        <p:txBody>
          <a:bodyPr lIns="0" tIns="0" rIns="0" bIns="0"/>
          <a:lstStyle>
            <a:lvl1pPr algn="l">
              <a:defRPr sz="3000" b="0" i="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4">
            <a:extLst>
              <a:ext uri="{FF2B5EF4-FFF2-40B4-BE49-F238E27FC236}">
                <a16:creationId xmlns:a16="http://schemas.microsoft.com/office/drawing/2014/main" id="{E4656672-01BA-5E84-92B4-1418DC8282A8}"/>
              </a:ext>
            </a:extLst>
          </p:cNvPr>
          <p:cNvSpPr>
            <a:spLocks noGrp="1"/>
          </p:cNvSpPr>
          <p:nvPr>
            <p:ph type="body" sz="quarter" idx="11" hasCustomPrompt="1"/>
          </p:nvPr>
        </p:nvSpPr>
        <p:spPr>
          <a:xfrm>
            <a:off x="285750" y="320647"/>
            <a:ext cx="4229100" cy="171450"/>
          </a:xfrm>
          <a:prstGeom prst="rect">
            <a:avLst/>
          </a:prstGeom>
        </p:spPr>
        <p:txBody>
          <a:bodyPr lIns="0" tIns="0" rIns="0" bIns="0" anchor="b" anchorCtr="0"/>
          <a:lstStyle>
            <a:lvl1pPr marL="0" indent="0">
              <a:buNone/>
              <a:defRPr sz="1050" b="0" i="0" cap="all" spc="150" baseline="0">
                <a:solidFill>
                  <a:schemeClr val="accent2"/>
                </a:solidFill>
                <a:latin typeface="+mj-lt"/>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pic>
        <p:nvPicPr>
          <p:cNvPr id="8" name="Picture 7">
            <a:extLst>
              <a:ext uri="{FF2B5EF4-FFF2-40B4-BE49-F238E27FC236}">
                <a16:creationId xmlns:a16="http://schemas.microsoft.com/office/drawing/2014/main" id="{E15268E4-7946-825C-DE7B-C3CDED8444D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5751" y="4210852"/>
            <a:ext cx="2060283" cy="475449"/>
          </a:xfrm>
          <a:prstGeom prst="rect">
            <a:avLst/>
          </a:prstGeom>
        </p:spPr>
      </p:pic>
      <p:sp>
        <p:nvSpPr>
          <p:cNvPr id="13" name="Text Placeholder 12">
            <a:extLst>
              <a:ext uri="{FF2B5EF4-FFF2-40B4-BE49-F238E27FC236}">
                <a16:creationId xmlns:a16="http://schemas.microsoft.com/office/drawing/2014/main" id="{F2EC058F-09C1-2FB9-FAE6-41CD51A92FC6}"/>
              </a:ext>
            </a:extLst>
          </p:cNvPr>
          <p:cNvSpPr>
            <a:spLocks noGrp="1"/>
          </p:cNvSpPr>
          <p:nvPr>
            <p:ph type="body" sz="quarter" idx="12" hasCustomPrompt="1"/>
          </p:nvPr>
        </p:nvSpPr>
        <p:spPr>
          <a:xfrm>
            <a:off x="285750" y="3311236"/>
            <a:ext cx="4229100" cy="209550"/>
          </a:xfrm>
          <a:prstGeom prst="rect">
            <a:avLst/>
          </a:prstGeom>
        </p:spPr>
        <p:txBody>
          <a:bodyPr lIns="0" tIns="0" rIns="0" bIns="0"/>
          <a:lstStyle>
            <a:lvl1pPr marL="0" indent="0" fontAlgn="auto">
              <a:spcBef>
                <a:spcPts val="0"/>
              </a:spcBef>
              <a:buNone/>
              <a:defRPr sz="1600" b="1" i="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Presenter Name, Credential (Optional use)</a:t>
            </a:r>
          </a:p>
        </p:txBody>
      </p:sp>
      <p:sp>
        <p:nvSpPr>
          <p:cNvPr id="14" name="Text Placeholder 12">
            <a:extLst>
              <a:ext uri="{FF2B5EF4-FFF2-40B4-BE49-F238E27FC236}">
                <a16:creationId xmlns:a16="http://schemas.microsoft.com/office/drawing/2014/main" id="{0F1225A7-93F6-85E9-97DA-266F55829A17}"/>
              </a:ext>
            </a:extLst>
          </p:cNvPr>
          <p:cNvSpPr>
            <a:spLocks noGrp="1"/>
          </p:cNvSpPr>
          <p:nvPr>
            <p:ph type="body" sz="quarter" idx="13" hasCustomPrompt="1"/>
          </p:nvPr>
        </p:nvSpPr>
        <p:spPr>
          <a:xfrm>
            <a:off x="285750" y="3581400"/>
            <a:ext cx="4229100" cy="209550"/>
          </a:xfrm>
          <a:prstGeom prst="rect">
            <a:avLst/>
          </a:prstGeom>
        </p:spPr>
        <p:txBody>
          <a:bodyPr lIns="0" tIns="0" rIns="0" bIns="0"/>
          <a:lstStyle>
            <a:lvl1pPr marL="0" indent="0" fontAlgn="auto">
              <a:spcBef>
                <a:spcPts val="0"/>
              </a:spcBef>
              <a:buNone/>
              <a:defRPr sz="1200">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pic>
        <p:nvPicPr>
          <p:cNvPr id="4" name="Picture Placeholder 23">
            <a:extLst>
              <a:ext uri="{FF2B5EF4-FFF2-40B4-BE49-F238E27FC236}">
                <a16:creationId xmlns:a16="http://schemas.microsoft.com/office/drawing/2014/main" id="{02EC586A-A191-24FE-EA31-04CBFCBD078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353050" y="0"/>
            <a:ext cx="3790950" cy="5143500"/>
          </a:xfrm>
          <a:custGeom>
            <a:avLst/>
            <a:gdLst>
              <a:gd name="connsiteX0" fmla="*/ 0 w 8686800"/>
              <a:gd name="connsiteY0" fmla="*/ 0 h 8686800"/>
              <a:gd name="connsiteX1" fmla="*/ 8686800 w 8686800"/>
              <a:gd name="connsiteY1" fmla="*/ 0 h 8686800"/>
              <a:gd name="connsiteX2" fmla="*/ 8686800 w 8686800"/>
              <a:gd name="connsiteY2" fmla="*/ 8686800 h 8686800"/>
              <a:gd name="connsiteX3" fmla="*/ 0 w 8686800"/>
              <a:gd name="connsiteY3" fmla="*/ 8686800 h 8686800"/>
            </a:gdLst>
            <a:ahLst/>
            <a:cxnLst>
              <a:cxn ang="0">
                <a:pos x="connsiteX0" y="connsiteY0"/>
              </a:cxn>
              <a:cxn ang="0">
                <a:pos x="connsiteX1" y="connsiteY1"/>
              </a:cxn>
              <a:cxn ang="0">
                <a:pos x="connsiteX2" y="connsiteY2"/>
              </a:cxn>
              <a:cxn ang="0">
                <a:pos x="connsiteX3" y="connsiteY3"/>
              </a:cxn>
            </a:cxnLst>
            <a:rect l="l" t="t" r="r" b="b"/>
            <a:pathLst>
              <a:path w="8686800" h="8686800">
                <a:moveTo>
                  <a:pt x="0" y="0"/>
                </a:moveTo>
                <a:lnTo>
                  <a:pt x="8686800" y="0"/>
                </a:lnTo>
                <a:lnTo>
                  <a:pt x="8686800" y="8686800"/>
                </a:lnTo>
                <a:lnTo>
                  <a:pt x="0" y="8686800"/>
                </a:lnTo>
                <a:close/>
              </a:path>
            </a:pathLst>
          </a:custGeom>
        </p:spPr>
      </p:pic>
    </p:spTree>
    <p:extLst>
      <p:ext uri="{BB962C8B-B14F-4D97-AF65-F5344CB8AC3E}">
        <p14:creationId xmlns:p14="http://schemas.microsoft.com/office/powerpoint/2010/main" val="3156787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ne Column">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80EA47-621A-C85A-369C-AF7E1849893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Title 9">
            <a:extLst>
              <a:ext uri="{FF2B5EF4-FFF2-40B4-BE49-F238E27FC236}">
                <a16:creationId xmlns:a16="http://schemas.microsoft.com/office/drawing/2014/main" id="{ACD2F633-7BCC-9177-0FD9-C4EED9FA05DD}"/>
              </a:ext>
            </a:extLst>
          </p:cNvPr>
          <p:cNvSpPr>
            <a:spLocks noGrp="1"/>
          </p:cNvSpPr>
          <p:nvPr>
            <p:ph type="title" hasCustomPrompt="1"/>
          </p:nvPr>
        </p:nvSpPr>
        <p:spPr>
          <a:xfrm>
            <a:off x="285749" y="544678"/>
            <a:ext cx="8583613"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Content Placeholder 2">
            <a:extLst>
              <a:ext uri="{FF2B5EF4-FFF2-40B4-BE49-F238E27FC236}">
                <a16:creationId xmlns:a16="http://schemas.microsoft.com/office/drawing/2014/main" id="{8E26158B-5FBD-AC92-E8F1-C0F99339725A}"/>
              </a:ext>
            </a:extLst>
          </p:cNvPr>
          <p:cNvSpPr>
            <a:spLocks noGrp="1"/>
          </p:cNvSpPr>
          <p:nvPr>
            <p:ph sz="quarter" idx="16"/>
          </p:nvPr>
        </p:nvSpPr>
        <p:spPr>
          <a:xfrm>
            <a:off x="285749" y="1233847"/>
            <a:ext cx="8572499" cy="2903178"/>
          </a:xfrm>
          <a:prstGeom prst="rect">
            <a:avLst/>
          </a:prstGeom>
        </p:spPr>
        <p:txBody>
          <a:bodyPr lIns="0" tIns="0" rIns="0" bIns="0"/>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92BAD5F1-C52F-2EF9-6FAF-1EE5F2831437}"/>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4">
            <a:extLst>
              <a:ext uri="{FF2B5EF4-FFF2-40B4-BE49-F238E27FC236}">
                <a16:creationId xmlns:a16="http://schemas.microsoft.com/office/drawing/2014/main" id="{07295A1A-5737-692F-A2F2-EB6511897CCD}"/>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2998558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e Column with Sidebar">
    <p:bg>
      <p:bgPr>
        <a:solidFill>
          <a:schemeClr val="bg2"/>
        </a:solidFill>
        <a:effectLst/>
      </p:bgPr>
    </p:bg>
    <p:spTree>
      <p:nvGrpSpPr>
        <p:cNvPr id="1" name=""/>
        <p:cNvGrpSpPr/>
        <p:nvPr/>
      </p:nvGrpSpPr>
      <p:grpSpPr>
        <a:xfrm>
          <a:off x="0" y="0"/>
          <a:ext cx="0" cy="0"/>
          <a:chOff x="0" y="0"/>
          <a:chExt cx="0" cy="0"/>
        </a:xfrm>
      </p:grpSpPr>
      <p:sp>
        <p:nvSpPr>
          <p:cNvPr id="5" name="object 2" hidden="1">
            <a:extLst>
              <a:ext uri="{FF2B5EF4-FFF2-40B4-BE49-F238E27FC236}">
                <a16:creationId xmlns:a16="http://schemas.microsoft.com/office/drawing/2014/main" id="{ACB3A65D-BD41-06E3-D19F-456D61EDFE28}"/>
              </a:ext>
            </a:extLst>
          </p:cNvPr>
          <p:cNvSpPr/>
          <p:nvPr/>
        </p:nvSpPr>
        <p:spPr>
          <a:xfrm flipH="1">
            <a:off x="5353050" y="-4635437"/>
            <a:ext cx="3562350" cy="3746500"/>
          </a:xfrm>
          <a:custGeom>
            <a:avLst/>
            <a:gdLst/>
            <a:ahLst/>
            <a:cxnLst/>
            <a:rect l="l" t="t" r="r" b="b"/>
            <a:pathLst>
              <a:path w="5832475" h="5822315">
                <a:moveTo>
                  <a:pt x="5413458" y="0"/>
                </a:moveTo>
                <a:lnTo>
                  <a:pt x="418835" y="0"/>
                </a:lnTo>
                <a:lnTo>
                  <a:pt x="369991" y="2817"/>
                </a:lnTo>
                <a:lnTo>
                  <a:pt x="322801" y="11061"/>
                </a:lnTo>
                <a:lnTo>
                  <a:pt x="277581" y="24417"/>
                </a:lnTo>
                <a:lnTo>
                  <a:pt x="234643" y="42571"/>
                </a:lnTo>
                <a:lnTo>
                  <a:pt x="194304" y="65208"/>
                </a:lnTo>
                <a:lnTo>
                  <a:pt x="156876" y="92014"/>
                </a:lnTo>
                <a:lnTo>
                  <a:pt x="122675" y="122675"/>
                </a:lnTo>
                <a:lnTo>
                  <a:pt x="92014" y="156876"/>
                </a:lnTo>
                <a:lnTo>
                  <a:pt x="65208" y="194304"/>
                </a:lnTo>
                <a:lnTo>
                  <a:pt x="42571" y="234643"/>
                </a:lnTo>
                <a:lnTo>
                  <a:pt x="24417" y="277581"/>
                </a:lnTo>
                <a:lnTo>
                  <a:pt x="11061" y="322801"/>
                </a:lnTo>
                <a:lnTo>
                  <a:pt x="2817" y="369991"/>
                </a:lnTo>
                <a:lnTo>
                  <a:pt x="0" y="418835"/>
                </a:lnTo>
                <a:lnTo>
                  <a:pt x="0" y="5402976"/>
                </a:lnTo>
                <a:lnTo>
                  <a:pt x="2817" y="5451821"/>
                </a:lnTo>
                <a:lnTo>
                  <a:pt x="11061" y="5499010"/>
                </a:lnTo>
                <a:lnTo>
                  <a:pt x="24417" y="5544231"/>
                </a:lnTo>
                <a:lnTo>
                  <a:pt x="42571" y="5587168"/>
                </a:lnTo>
                <a:lnTo>
                  <a:pt x="65208" y="5627507"/>
                </a:lnTo>
                <a:lnTo>
                  <a:pt x="92014" y="5664935"/>
                </a:lnTo>
                <a:lnTo>
                  <a:pt x="122675" y="5699136"/>
                </a:lnTo>
                <a:lnTo>
                  <a:pt x="156876" y="5729797"/>
                </a:lnTo>
                <a:lnTo>
                  <a:pt x="194304" y="5756603"/>
                </a:lnTo>
                <a:lnTo>
                  <a:pt x="234643" y="5779240"/>
                </a:lnTo>
                <a:lnTo>
                  <a:pt x="277581" y="5797394"/>
                </a:lnTo>
                <a:lnTo>
                  <a:pt x="322801" y="5810750"/>
                </a:lnTo>
                <a:lnTo>
                  <a:pt x="369991" y="5818994"/>
                </a:lnTo>
                <a:lnTo>
                  <a:pt x="418835" y="5821812"/>
                </a:lnTo>
                <a:lnTo>
                  <a:pt x="5413458" y="5821812"/>
                </a:lnTo>
                <a:lnTo>
                  <a:pt x="5462302" y="5818994"/>
                </a:lnTo>
                <a:lnTo>
                  <a:pt x="5509492" y="5810750"/>
                </a:lnTo>
                <a:lnTo>
                  <a:pt x="5554712" y="5797394"/>
                </a:lnTo>
                <a:lnTo>
                  <a:pt x="5597649" y="5779240"/>
                </a:lnTo>
                <a:lnTo>
                  <a:pt x="5637989" y="5756603"/>
                </a:lnTo>
                <a:lnTo>
                  <a:pt x="5675416" y="5729797"/>
                </a:lnTo>
                <a:lnTo>
                  <a:pt x="5709618" y="5699136"/>
                </a:lnTo>
                <a:lnTo>
                  <a:pt x="5740278" y="5664935"/>
                </a:lnTo>
                <a:lnTo>
                  <a:pt x="5767084" y="5627507"/>
                </a:lnTo>
                <a:lnTo>
                  <a:pt x="5789721" y="5587168"/>
                </a:lnTo>
                <a:lnTo>
                  <a:pt x="5807875" y="5544231"/>
                </a:lnTo>
                <a:lnTo>
                  <a:pt x="5821231" y="5499010"/>
                </a:lnTo>
                <a:lnTo>
                  <a:pt x="5829475" y="5451821"/>
                </a:lnTo>
                <a:lnTo>
                  <a:pt x="5832293" y="5402976"/>
                </a:lnTo>
                <a:lnTo>
                  <a:pt x="5832293" y="418835"/>
                </a:lnTo>
                <a:lnTo>
                  <a:pt x="5829475" y="369991"/>
                </a:lnTo>
                <a:lnTo>
                  <a:pt x="5821231" y="322801"/>
                </a:lnTo>
                <a:lnTo>
                  <a:pt x="5807875" y="277581"/>
                </a:lnTo>
                <a:lnTo>
                  <a:pt x="5789721" y="234643"/>
                </a:lnTo>
                <a:lnTo>
                  <a:pt x="5767084" y="194304"/>
                </a:lnTo>
                <a:lnTo>
                  <a:pt x="5740278" y="156876"/>
                </a:lnTo>
                <a:lnTo>
                  <a:pt x="5709618" y="122675"/>
                </a:lnTo>
                <a:lnTo>
                  <a:pt x="5675416" y="92014"/>
                </a:lnTo>
                <a:lnTo>
                  <a:pt x="5637989" y="65208"/>
                </a:lnTo>
                <a:lnTo>
                  <a:pt x="5597649" y="42571"/>
                </a:lnTo>
                <a:lnTo>
                  <a:pt x="5554712" y="24417"/>
                </a:lnTo>
                <a:lnTo>
                  <a:pt x="5509492" y="11061"/>
                </a:lnTo>
                <a:lnTo>
                  <a:pt x="5462302" y="2817"/>
                </a:lnTo>
                <a:lnTo>
                  <a:pt x="5413458" y="0"/>
                </a:lnTo>
                <a:close/>
              </a:path>
            </a:pathLst>
          </a:custGeom>
          <a:solidFill>
            <a:schemeClr val="accent3"/>
          </a:solidFill>
        </p:spPr>
        <p:txBody>
          <a:bodyPr wrap="square" lIns="182880" tIns="182880" rIns="457200" bIns="0" rtlCol="0"/>
          <a:lstStyle/>
          <a:p>
            <a:pPr>
              <a:spcAft>
                <a:spcPts val="1200"/>
              </a:spcAft>
            </a:pPr>
            <a:r>
              <a:rPr lang="en-US" sz="1400" b="0" i="0">
                <a:latin typeface="Arial" panose="020B0604020202020204" pitchFamily="34" charset="0"/>
              </a:rPr>
              <a:t>These learners’ experiences:</a:t>
            </a:r>
          </a:p>
          <a:p>
            <a:pPr marL="285736" indent="-285736">
              <a:buFont typeface="Arial" panose="020B0604020202020204" pitchFamily="34" charset="0"/>
              <a:buChar char="•"/>
            </a:pPr>
            <a:r>
              <a:rPr lang="en-US" sz="1400" b="0" i="0" spc="0">
                <a:latin typeface="Arial" panose="020B0604020202020204" pitchFamily="34" charset="0"/>
              </a:rPr>
              <a:t>Question Banks</a:t>
            </a:r>
          </a:p>
          <a:p>
            <a:pPr marL="285736" indent="-285736">
              <a:buFont typeface="Arial" panose="020B0604020202020204" pitchFamily="34" charset="0"/>
              <a:buChar char="•"/>
            </a:pPr>
            <a:r>
              <a:rPr lang="en-US" sz="1400" b="0" i="0" spc="0">
                <a:latin typeface="Arial" panose="020B0604020202020204" pitchFamily="34" charset="0"/>
              </a:rPr>
              <a:t>Virtual Lectures</a:t>
            </a:r>
          </a:p>
          <a:p>
            <a:pPr marL="285736" indent="-285736">
              <a:buFont typeface="Arial" panose="020B0604020202020204" pitchFamily="34" charset="0"/>
              <a:buChar char="•"/>
            </a:pPr>
            <a:r>
              <a:rPr lang="en-US" sz="1400" b="0" i="0" spc="0">
                <a:latin typeface="Arial" panose="020B0604020202020204" pitchFamily="34" charset="0"/>
              </a:rPr>
              <a:t>Demonstration Videos</a:t>
            </a:r>
          </a:p>
          <a:p>
            <a:pPr marL="285736" indent="-285736">
              <a:buFont typeface="Arial" panose="020B0604020202020204" pitchFamily="34" charset="0"/>
              <a:buChar char="•"/>
            </a:pPr>
            <a:r>
              <a:rPr lang="en-US" sz="1400" b="0" i="0" spc="0">
                <a:latin typeface="Arial" panose="020B0604020202020204" pitchFamily="34" charset="0"/>
              </a:rPr>
              <a:t>Social Media</a:t>
            </a:r>
          </a:p>
          <a:p>
            <a:pPr marL="285736" indent="-285736">
              <a:buFont typeface="Arial" panose="020B0604020202020204" pitchFamily="34" charset="0"/>
              <a:buChar char="•"/>
            </a:pPr>
            <a:r>
              <a:rPr lang="en-US" sz="1400" b="0" i="0" spc="0">
                <a:latin typeface="Arial" panose="020B0604020202020204" pitchFamily="34" charset="0"/>
              </a:rPr>
              <a:t>Flashcards</a:t>
            </a:r>
          </a:p>
          <a:p>
            <a:pPr marL="285736" indent="-285736">
              <a:buFont typeface="Arial" panose="020B0604020202020204" pitchFamily="34" charset="0"/>
              <a:buChar char="•"/>
            </a:pPr>
            <a:r>
              <a:rPr lang="en-US" sz="1400" b="0" i="0" spc="0">
                <a:latin typeface="Arial" panose="020B0604020202020204" pitchFamily="34" charset="0"/>
              </a:rPr>
              <a:t>E-books</a:t>
            </a:r>
          </a:p>
          <a:p>
            <a:pPr marL="285736" indent="-285736">
              <a:buFont typeface="Arial" panose="020B0604020202020204" pitchFamily="34" charset="0"/>
              <a:buChar char="•"/>
            </a:pPr>
            <a:r>
              <a:rPr lang="en-US" sz="1400" b="0" i="0" spc="0">
                <a:latin typeface="Arial" panose="020B0604020202020204" pitchFamily="34" charset="0"/>
              </a:rPr>
              <a:t>Online Simulations</a:t>
            </a:r>
          </a:p>
          <a:p>
            <a:pPr marL="285736" indent="-285736">
              <a:buFont typeface="Arial" panose="020B0604020202020204" pitchFamily="34" charset="0"/>
              <a:buChar char="•"/>
            </a:pPr>
            <a:r>
              <a:rPr lang="en-US" sz="1400" b="0" i="0" spc="0">
                <a:latin typeface="Arial" panose="020B0604020202020204" pitchFamily="34" charset="0"/>
              </a:rPr>
              <a:t>Spaced repetition notecards</a:t>
            </a:r>
          </a:p>
          <a:p>
            <a:pPr marL="285736" indent="-285736">
              <a:buFont typeface="Arial" panose="020B0604020202020204" pitchFamily="34" charset="0"/>
              <a:buChar char="•"/>
            </a:pPr>
            <a:endParaRPr sz="1400" b="0" i="0">
              <a:latin typeface="Arial" panose="020B0604020202020204" pitchFamily="34" charset="0"/>
            </a:endParaRPr>
          </a:p>
        </p:txBody>
      </p:sp>
      <p:sp>
        <p:nvSpPr>
          <p:cNvPr id="14" name="Text Placeholder 13">
            <a:extLst>
              <a:ext uri="{FF2B5EF4-FFF2-40B4-BE49-F238E27FC236}">
                <a16:creationId xmlns:a16="http://schemas.microsoft.com/office/drawing/2014/main" id="{072D7994-1389-EBF8-BA55-48220B648B04}"/>
              </a:ext>
            </a:extLst>
          </p:cNvPr>
          <p:cNvSpPr>
            <a:spLocks noGrp="1"/>
          </p:cNvSpPr>
          <p:nvPr>
            <p:ph type="body" sz="quarter" idx="15" hasCustomPrompt="1"/>
          </p:nvPr>
        </p:nvSpPr>
        <p:spPr>
          <a:xfrm>
            <a:off x="6076952" y="457201"/>
            <a:ext cx="3616325" cy="4054979"/>
          </a:xfrm>
          <a:prstGeom prst="roundRect">
            <a:avLst>
              <a:gd name="adj" fmla="val 7275"/>
            </a:avLst>
          </a:prstGeom>
          <a:solidFill>
            <a:schemeClr val="accent3"/>
          </a:solidFill>
        </p:spPr>
        <p:txBody>
          <a:bodyPr lIns="182880" tIns="182880" rIns="731520" bIns="182880"/>
          <a:lstStyle>
            <a:lvl1pPr marL="0" indent="0">
              <a:buNone/>
              <a:defRPr sz="1400" b="0" i="0">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hese learners’ experiences: (Bold)</a:t>
            </a:r>
          </a:p>
          <a:p>
            <a:pPr lvl="0"/>
            <a:r>
              <a:rPr lang="en-US"/>
              <a:t>Question banks</a:t>
            </a:r>
          </a:p>
          <a:p>
            <a:pPr lvl="0"/>
            <a:r>
              <a:rPr lang="en-US"/>
              <a:t>Spaced repetition notecards</a:t>
            </a:r>
          </a:p>
        </p:txBody>
      </p:sp>
      <p:pic>
        <p:nvPicPr>
          <p:cNvPr id="2" name="Picture 1">
            <a:extLst>
              <a:ext uri="{FF2B5EF4-FFF2-40B4-BE49-F238E27FC236}">
                <a16:creationId xmlns:a16="http://schemas.microsoft.com/office/drawing/2014/main" id="{59524FF9-47FE-5569-00C3-AF4ACEE70E2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4" name="Content Placeholder 2">
            <a:extLst>
              <a:ext uri="{FF2B5EF4-FFF2-40B4-BE49-F238E27FC236}">
                <a16:creationId xmlns:a16="http://schemas.microsoft.com/office/drawing/2014/main" id="{4C24ADE1-061E-279C-C300-654925D42B72}"/>
              </a:ext>
            </a:extLst>
          </p:cNvPr>
          <p:cNvSpPr>
            <a:spLocks noGrp="1"/>
          </p:cNvSpPr>
          <p:nvPr>
            <p:ph sz="quarter" idx="16"/>
          </p:nvPr>
        </p:nvSpPr>
        <p:spPr>
          <a:xfrm>
            <a:off x="285750" y="1233847"/>
            <a:ext cx="4953000" cy="2903178"/>
          </a:xfrm>
          <a:prstGeom prst="rect">
            <a:avLst/>
          </a:prstGeom>
        </p:spPr>
        <p:txBody>
          <a:bodyPr lIns="0" tIns="0" rIns="0" bIns="0"/>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9">
            <a:extLst>
              <a:ext uri="{FF2B5EF4-FFF2-40B4-BE49-F238E27FC236}">
                <a16:creationId xmlns:a16="http://schemas.microsoft.com/office/drawing/2014/main" id="{5B7000FC-AC4F-15E8-62D6-FC1F0807F7D3}"/>
              </a:ext>
            </a:extLst>
          </p:cNvPr>
          <p:cNvSpPr>
            <a:spLocks noGrp="1"/>
          </p:cNvSpPr>
          <p:nvPr>
            <p:ph type="title" hasCustomPrompt="1"/>
          </p:nvPr>
        </p:nvSpPr>
        <p:spPr>
          <a:xfrm>
            <a:off x="285750" y="544678"/>
            <a:ext cx="4953000"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8" name="Rectangle 7">
            <a:extLst>
              <a:ext uri="{FF2B5EF4-FFF2-40B4-BE49-F238E27FC236}">
                <a16:creationId xmlns:a16="http://schemas.microsoft.com/office/drawing/2014/main" id="{0B9B22CF-61E4-5EC4-0D01-E37DD269F9B8}"/>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0D704314-6793-1EEF-ACB5-D10C575B8452}"/>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2848730056"/>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C45B6B-76ED-35C8-97BA-D49B90E9937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6" name="Title 9">
            <a:extLst>
              <a:ext uri="{FF2B5EF4-FFF2-40B4-BE49-F238E27FC236}">
                <a16:creationId xmlns:a16="http://schemas.microsoft.com/office/drawing/2014/main" id="{815C753A-D833-CC50-3A23-93DD8D57C853}"/>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0" name="Content Placeholder 2">
            <a:extLst>
              <a:ext uri="{FF2B5EF4-FFF2-40B4-BE49-F238E27FC236}">
                <a16:creationId xmlns:a16="http://schemas.microsoft.com/office/drawing/2014/main" id="{CA5D1C3E-6608-7F36-9FBD-9F15C05D76F0}"/>
              </a:ext>
            </a:extLst>
          </p:cNvPr>
          <p:cNvSpPr>
            <a:spLocks noGrp="1"/>
          </p:cNvSpPr>
          <p:nvPr>
            <p:ph sz="quarter" idx="17"/>
          </p:nvPr>
        </p:nvSpPr>
        <p:spPr>
          <a:xfrm>
            <a:off x="285750" y="1233847"/>
            <a:ext cx="42291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84532144-B02E-BC0B-FDB4-D27F937E3A62}"/>
              </a:ext>
            </a:extLst>
          </p:cNvPr>
          <p:cNvSpPr>
            <a:spLocks noGrp="1"/>
          </p:cNvSpPr>
          <p:nvPr>
            <p:ph sz="quarter" idx="18"/>
          </p:nvPr>
        </p:nvSpPr>
        <p:spPr>
          <a:xfrm>
            <a:off x="4635114" y="1233847"/>
            <a:ext cx="42291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EAC5A6F5-4F14-62B6-ECCC-4EBCA3CBEED6}"/>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4">
            <a:extLst>
              <a:ext uri="{FF2B5EF4-FFF2-40B4-BE49-F238E27FC236}">
                <a16:creationId xmlns:a16="http://schemas.microsoft.com/office/drawing/2014/main" id="{C187501F-BE13-8B5D-ABE3-3333422C5853}"/>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466919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lumn">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9A19DC-9C5C-9608-353B-85CA2DC19A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3" name="Content Placeholder 2">
            <a:extLst>
              <a:ext uri="{FF2B5EF4-FFF2-40B4-BE49-F238E27FC236}">
                <a16:creationId xmlns:a16="http://schemas.microsoft.com/office/drawing/2014/main" id="{61F86205-71A8-F27F-84C3-8F9A2D0CF8BA}"/>
              </a:ext>
            </a:extLst>
          </p:cNvPr>
          <p:cNvSpPr>
            <a:spLocks noGrp="1"/>
          </p:cNvSpPr>
          <p:nvPr>
            <p:ph sz="quarter" idx="18"/>
          </p:nvPr>
        </p:nvSpPr>
        <p:spPr>
          <a:xfrm>
            <a:off x="285750" y="1233847"/>
            <a:ext cx="27813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26C3AB16-01B6-D0E3-0E67-9D636C9E2B59}"/>
              </a:ext>
            </a:extLst>
          </p:cNvPr>
          <p:cNvSpPr>
            <a:spLocks noGrp="1"/>
          </p:cNvSpPr>
          <p:nvPr>
            <p:ph sz="quarter" idx="19"/>
          </p:nvPr>
        </p:nvSpPr>
        <p:spPr>
          <a:xfrm>
            <a:off x="3184000" y="1233847"/>
            <a:ext cx="27813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C56F862E-EBED-5DDC-D3C1-F556B5E646FC}"/>
              </a:ext>
            </a:extLst>
          </p:cNvPr>
          <p:cNvSpPr>
            <a:spLocks noGrp="1"/>
          </p:cNvSpPr>
          <p:nvPr>
            <p:ph sz="quarter" idx="20"/>
          </p:nvPr>
        </p:nvSpPr>
        <p:spPr>
          <a:xfrm>
            <a:off x="6082250" y="1233847"/>
            <a:ext cx="27813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9">
            <a:extLst>
              <a:ext uri="{FF2B5EF4-FFF2-40B4-BE49-F238E27FC236}">
                <a16:creationId xmlns:a16="http://schemas.microsoft.com/office/drawing/2014/main" id="{49C940AE-DA49-027C-7008-60682162FE2A}"/>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2" name="Rectangle 11">
            <a:extLst>
              <a:ext uri="{FF2B5EF4-FFF2-40B4-BE49-F238E27FC236}">
                <a16:creationId xmlns:a16="http://schemas.microsoft.com/office/drawing/2014/main" id="{0C9FB40F-760F-39EE-06A4-9AC2D3EA149B}"/>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4">
            <a:extLst>
              <a:ext uri="{FF2B5EF4-FFF2-40B4-BE49-F238E27FC236}">
                <a16:creationId xmlns:a16="http://schemas.microsoft.com/office/drawing/2014/main" id="{5DC59A3A-99CB-E475-5534-9CA833AA4530}"/>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855151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ur Column">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5A824D-EEE9-D9DF-5603-149770B401B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12C8D445-012F-EF4A-4624-7D5BB988B705}"/>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5" name="Content Placeholder 2">
            <a:extLst>
              <a:ext uri="{FF2B5EF4-FFF2-40B4-BE49-F238E27FC236}">
                <a16:creationId xmlns:a16="http://schemas.microsoft.com/office/drawing/2014/main" id="{DECE0F7C-84F4-9935-BB81-1E66FA59A502}"/>
              </a:ext>
            </a:extLst>
          </p:cNvPr>
          <p:cNvSpPr>
            <a:spLocks noGrp="1"/>
          </p:cNvSpPr>
          <p:nvPr>
            <p:ph sz="quarter" idx="21"/>
          </p:nvPr>
        </p:nvSpPr>
        <p:spPr>
          <a:xfrm>
            <a:off x="285748" y="1233847"/>
            <a:ext cx="2059938" cy="336497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DBFC46A5-DE84-02E2-56CC-7C6D5A6729A5}"/>
              </a:ext>
            </a:extLst>
          </p:cNvPr>
          <p:cNvSpPr>
            <a:spLocks noGrp="1"/>
          </p:cNvSpPr>
          <p:nvPr>
            <p:ph sz="quarter" idx="22"/>
          </p:nvPr>
        </p:nvSpPr>
        <p:spPr>
          <a:xfrm>
            <a:off x="2457452" y="1233847"/>
            <a:ext cx="2059938" cy="336497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54AD1687-BAFA-BD3D-7BD6-6BAEAD1F193A}"/>
              </a:ext>
            </a:extLst>
          </p:cNvPr>
          <p:cNvSpPr>
            <a:spLocks noGrp="1"/>
          </p:cNvSpPr>
          <p:nvPr>
            <p:ph sz="quarter" idx="23"/>
          </p:nvPr>
        </p:nvSpPr>
        <p:spPr>
          <a:xfrm>
            <a:off x="4635112" y="1233847"/>
            <a:ext cx="2059938" cy="336497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5795BF81-6C5F-2B9A-7BC1-F4A2D3084434}"/>
              </a:ext>
            </a:extLst>
          </p:cNvPr>
          <p:cNvSpPr>
            <a:spLocks noGrp="1"/>
          </p:cNvSpPr>
          <p:nvPr>
            <p:ph sz="quarter" idx="24"/>
          </p:nvPr>
        </p:nvSpPr>
        <p:spPr>
          <a:xfrm>
            <a:off x="6806816" y="1233847"/>
            <a:ext cx="2059938" cy="336497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38F9118-EFC8-143B-BEEF-6F3BE552656F}"/>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4">
            <a:extLst>
              <a:ext uri="{FF2B5EF4-FFF2-40B4-BE49-F238E27FC236}">
                <a16:creationId xmlns:a16="http://schemas.microsoft.com/office/drawing/2014/main" id="{B207CD37-847B-5128-1B78-D81EEC9B35B5}"/>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9387544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Four Column with Photos/Icons">
    <p:bg>
      <p:bgPr>
        <a:solidFill>
          <a:schemeClr val="bg2"/>
        </a:solidFill>
        <a:effectLst/>
      </p:bgPr>
    </p:bg>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ECF20CCF-CF89-5909-3CD7-0700A3D1E281}"/>
              </a:ext>
            </a:extLst>
          </p:cNvPr>
          <p:cNvSpPr>
            <a:spLocks noGrp="1"/>
          </p:cNvSpPr>
          <p:nvPr>
            <p:ph type="pic" sz="quarter" idx="25" hasCustomPrompt="1"/>
          </p:nvPr>
        </p:nvSpPr>
        <p:spPr>
          <a:xfrm>
            <a:off x="5239540" y="1233488"/>
            <a:ext cx="838200" cy="601530"/>
          </a:xfrm>
          <a:prstGeom prst="rect">
            <a:avLst/>
          </a:prstGeom>
          <a:noFill/>
        </p:spPr>
        <p:txBody>
          <a:bodyPr lIns="0" tIns="0" rIns="0" bIns="0"/>
          <a:lstStyle>
            <a:lvl1pPr marL="0" indent="0" algn="ctr">
              <a:buNone/>
              <a:defRPr b="0">
                <a:solidFill>
                  <a:schemeClr val="tx1"/>
                </a:solidFill>
                <a:latin typeface="Arial" panose="020B0604020202020204" pitchFamily="34" charset="0"/>
                <a:cs typeface="Arial" panose="020B0604020202020204" pitchFamily="34" charset="0"/>
              </a:defRPr>
            </a:lvl1pPr>
          </a:lstStyle>
          <a:p>
            <a:r>
              <a:rPr lang="en-US"/>
              <a:t>ICON</a:t>
            </a:r>
          </a:p>
        </p:txBody>
      </p:sp>
      <p:sp>
        <p:nvSpPr>
          <p:cNvPr id="32" name="Picture Placeholder 2">
            <a:extLst>
              <a:ext uri="{FF2B5EF4-FFF2-40B4-BE49-F238E27FC236}">
                <a16:creationId xmlns:a16="http://schemas.microsoft.com/office/drawing/2014/main" id="{E7B36B7E-62C2-E25F-950B-1B2508FEA6AB}"/>
              </a:ext>
            </a:extLst>
          </p:cNvPr>
          <p:cNvSpPr>
            <a:spLocks noGrp="1"/>
          </p:cNvSpPr>
          <p:nvPr>
            <p:ph type="pic" sz="quarter" idx="27" hasCustomPrompt="1"/>
          </p:nvPr>
        </p:nvSpPr>
        <p:spPr>
          <a:xfrm>
            <a:off x="7411635" y="1233488"/>
            <a:ext cx="838200" cy="601530"/>
          </a:xfrm>
          <a:prstGeom prst="rect">
            <a:avLst/>
          </a:prstGeom>
          <a:noFill/>
        </p:spPr>
        <p:txBody>
          <a:bodyPr lIns="0" tIns="0" rIns="0" bIns="0"/>
          <a:lstStyle>
            <a:lvl1pPr marL="0" indent="0" algn="ctr">
              <a:buNone/>
              <a:defRPr b="0">
                <a:solidFill>
                  <a:schemeClr val="tx1"/>
                </a:solidFill>
                <a:latin typeface="Arial" panose="020B0604020202020204" pitchFamily="34" charset="0"/>
                <a:cs typeface="Arial" panose="020B0604020202020204" pitchFamily="34" charset="0"/>
              </a:defRPr>
            </a:lvl1pPr>
          </a:lstStyle>
          <a:p>
            <a:r>
              <a:rPr lang="en-US"/>
              <a:t>ICON</a:t>
            </a:r>
          </a:p>
        </p:txBody>
      </p:sp>
      <p:sp>
        <p:nvSpPr>
          <p:cNvPr id="8" name="Picture Placeholder 2">
            <a:extLst>
              <a:ext uri="{FF2B5EF4-FFF2-40B4-BE49-F238E27FC236}">
                <a16:creationId xmlns:a16="http://schemas.microsoft.com/office/drawing/2014/main" id="{FCB9167E-48DA-F0CF-C034-3F1618EC079A}"/>
              </a:ext>
            </a:extLst>
          </p:cNvPr>
          <p:cNvSpPr>
            <a:spLocks noGrp="1"/>
          </p:cNvSpPr>
          <p:nvPr>
            <p:ph type="pic" sz="quarter" idx="30" hasCustomPrompt="1"/>
          </p:nvPr>
        </p:nvSpPr>
        <p:spPr>
          <a:xfrm>
            <a:off x="895350" y="1233488"/>
            <a:ext cx="838200" cy="601530"/>
          </a:xfrm>
          <a:prstGeom prst="rect">
            <a:avLst/>
          </a:prstGeom>
          <a:noFill/>
        </p:spPr>
        <p:txBody>
          <a:bodyPr lIns="0" tIns="0" rIns="0" bIns="0"/>
          <a:lstStyle>
            <a:lvl1pPr marL="0" indent="0" algn="ctr">
              <a:buNone/>
              <a:defRPr b="0">
                <a:solidFill>
                  <a:schemeClr val="tx1"/>
                </a:solidFill>
                <a:latin typeface="Arial" panose="020B0604020202020204" pitchFamily="34" charset="0"/>
                <a:cs typeface="Arial" panose="020B0604020202020204" pitchFamily="34" charset="0"/>
              </a:defRPr>
            </a:lvl1pPr>
          </a:lstStyle>
          <a:p>
            <a:r>
              <a:rPr lang="en-US"/>
              <a:t>ICON</a:t>
            </a:r>
          </a:p>
        </p:txBody>
      </p:sp>
      <p:sp>
        <p:nvSpPr>
          <p:cNvPr id="9" name="Picture Placeholder 2">
            <a:extLst>
              <a:ext uri="{FF2B5EF4-FFF2-40B4-BE49-F238E27FC236}">
                <a16:creationId xmlns:a16="http://schemas.microsoft.com/office/drawing/2014/main" id="{642C6E1D-5878-3DC0-E63B-26F0400B65C2}"/>
              </a:ext>
            </a:extLst>
          </p:cNvPr>
          <p:cNvSpPr>
            <a:spLocks noGrp="1"/>
          </p:cNvSpPr>
          <p:nvPr>
            <p:ph type="pic" sz="quarter" idx="31" hasCustomPrompt="1"/>
          </p:nvPr>
        </p:nvSpPr>
        <p:spPr>
          <a:xfrm>
            <a:off x="3067445" y="1233488"/>
            <a:ext cx="838200" cy="601530"/>
          </a:xfrm>
          <a:prstGeom prst="rect">
            <a:avLst/>
          </a:prstGeom>
          <a:noFill/>
        </p:spPr>
        <p:txBody>
          <a:bodyPr lIns="0" tIns="0" rIns="0" bIns="0"/>
          <a:lstStyle>
            <a:lvl1pPr marL="0" indent="0" algn="ctr">
              <a:buNone/>
              <a:defRPr b="0">
                <a:solidFill>
                  <a:schemeClr val="tx1"/>
                </a:solidFill>
                <a:latin typeface="Arial" panose="020B0604020202020204" pitchFamily="34" charset="0"/>
                <a:cs typeface="Arial" panose="020B0604020202020204" pitchFamily="34" charset="0"/>
              </a:defRPr>
            </a:lvl1pPr>
          </a:lstStyle>
          <a:p>
            <a:r>
              <a:rPr lang="en-US"/>
              <a:t>ICON</a:t>
            </a:r>
          </a:p>
        </p:txBody>
      </p:sp>
      <p:pic>
        <p:nvPicPr>
          <p:cNvPr id="3" name="Picture 2">
            <a:extLst>
              <a:ext uri="{FF2B5EF4-FFF2-40B4-BE49-F238E27FC236}">
                <a16:creationId xmlns:a16="http://schemas.microsoft.com/office/drawing/2014/main" id="{7021806E-14CB-038A-6CAB-02D8E7A0359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515185"/>
            <a:ext cx="877226" cy="164479"/>
          </a:xfrm>
          <a:prstGeom prst="rect">
            <a:avLst/>
          </a:prstGeom>
        </p:spPr>
      </p:pic>
      <p:sp>
        <p:nvSpPr>
          <p:cNvPr id="2" name="Title 9">
            <a:extLst>
              <a:ext uri="{FF2B5EF4-FFF2-40B4-BE49-F238E27FC236}">
                <a16:creationId xmlns:a16="http://schemas.microsoft.com/office/drawing/2014/main" id="{8B3377F9-4222-1AEE-5C6F-D77A2308A580}"/>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4" name="Content Placeholder 2">
            <a:extLst>
              <a:ext uri="{FF2B5EF4-FFF2-40B4-BE49-F238E27FC236}">
                <a16:creationId xmlns:a16="http://schemas.microsoft.com/office/drawing/2014/main" id="{C4F67BE5-242A-B3AC-0CE7-41DAB8B4B13C}"/>
              </a:ext>
            </a:extLst>
          </p:cNvPr>
          <p:cNvSpPr>
            <a:spLocks noGrp="1"/>
          </p:cNvSpPr>
          <p:nvPr>
            <p:ph sz="quarter" idx="21"/>
          </p:nvPr>
        </p:nvSpPr>
        <p:spPr>
          <a:xfrm>
            <a:off x="285748" y="1951300"/>
            <a:ext cx="2059938" cy="230002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E216244C-8AE1-8CFE-7048-EA66096C623C}"/>
              </a:ext>
            </a:extLst>
          </p:cNvPr>
          <p:cNvSpPr>
            <a:spLocks noGrp="1"/>
          </p:cNvSpPr>
          <p:nvPr>
            <p:ph sz="quarter" idx="32"/>
          </p:nvPr>
        </p:nvSpPr>
        <p:spPr>
          <a:xfrm>
            <a:off x="2457452" y="1951300"/>
            <a:ext cx="2059938" cy="230002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D5E825B2-90A5-1229-EC91-204BEF35490F}"/>
              </a:ext>
            </a:extLst>
          </p:cNvPr>
          <p:cNvSpPr>
            <a:spLocks noGrp="1"/>
          </p:cNvSpPr>
          <p:nvPr>
            <p:ph sz="quarter" idx="23"/>
          </p:nvPr>
        </p:nvSpPr>
        <p:spPr>
          <a:xfrm>
            <a:off x="4635112" y="1951300"/>
            <a:ext cx="2059938" cy="230002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CFFD322D-25AF-493B-FE50-B92EB04DF5E5}"/>
              </a:ext>
            </a:extLst>
          </p:cNvPr>
          <p:cNvSpPr>
            <a:spLocks noGrp="1"/>
          </p:cNvSpPr>
          <p:nvPr>
            <p:ph sz="quarter" idx="33"/>
          </p:nvPr>
        </p:nvSpPr>
        <p:spPr>
          <a:xfrm>
            <a:off x="6806816" y="1951300"/>
            <a:ext cx="2059938" cy="2300025"/>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8C717B04-EAC7-BBE6-6A75-52BE91D1884E}"/>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4">
            <a:extLst>
              <a:ext uri="{FF2B5EF4-FFF2-40B4-BE49-F238E27FC236}">
                <a16:creationId xmlns:a16="http://schemas.microsoft.com/office/drawing/2014/main" id="{A12AC18C-2095-D86E-DB9F-B24B6EE30F43}"/>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576688357"/>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lumn with Photos/Icons">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EE5950-D86F-4E7B-DBF4-AB2B9C17CE7B}"/>
              </a:ext>
            </a:extLst>
          </p:cNvPr>
          <p:cNvSpPr>
            <a:spLocks noGrp="1"/>
          </p:cNvSpPr>
          <p:nvPr>
            <p:ph type="pic" sz="quarter" idx="21" hasCustomPrompt="1"/>
          </p:nvPr>
        </p:nvSpPr>
        <p:spPr>
          <a:xfrm>
            <a:off x="285750" y="1238250"/>
            <a:ext cx="2057400" cy="1390650"/>
          </a:xfrm>
          <a:prstGeom prst="roundRect">
            <a:avLst>
              <a:gd name="adj" fmla="val 7341"/>
            </a:avLst>
          </a:prstGeom>
          <a:solidFill>
            <a:schemeClr val="accent1"/>
          </a:solidFill>
        </p:spPr>
        <p:txBody>
          <a:bodyPr/>
          <a:lstStyle>
            <a:lvl1pPr marL="0" indent="0" algn="ctr">
              <a:buNone/>
              <a:defRPr>
                <a:noFill/>
                <a:latin typeface="Arial" panose="020B0604020202020204" pitchFamily="34" charset="0"/>
                <a:cs typeface="Arial" panose="020B0604020202020204" pitchFamily="34" charset="0"/>
              </a:defRPr>
            </a:lvl1pPr>
          </a:lstStyle>
          <a:p>
            <a:pPr marL="0" indent="0" algn="ctr">
              <a:buNone/>
            </a:pPr>
            <a:r>
              <a:rPr lang="en-US">
                <a:solidFill>
                  <a:schemeClr val="tx2"/>
                </a:solidFill>
              </a:rPr>
              <a:t>Image</a:t>
            </a:r>
          </a:p>
        </p:txBody>
      </p:sp>
      <p:sp>
        <p:nvSpPr>
          <p:cNvPr id="5" name="Picture Placeholder 2">
            <a:extLst>
              <a:ext uri="{FF2B5EF4-FFF2-40B4-BE49-F238E27FC236}">
                <a16:creationId xmlns:a16="http://schemas.microsoft.com/office/drawing/2014/main" id="{9B420A45-405B-2555-C94A-BAC05854FC8F}"/>
              </a:ext>
            </a:extLst>
          </p:cNvPr>
          <p:cNvSpPr>
            <a:spLocks noGrp="1"/>
          </p:cNvSpPr>
          <p:nvPr>
            <p:ph type="pic" sz="quarter" idx="22" hasCustomPrompt="1"/>
          </p:nvPr>
        </p:nvSpPr>
        <p:spPr>
          <a:xfrm>
            <a:off x="2457450" y="1238250"/>
            <a:ext cx="2057400" cy="1390650"/>
          </a:xfrm>
          <a:prstGeom prst="roundRect">
            <a:avLst>
              <a:gd name="adj" fmla="val 7341"/>
            </a:avLst>
          </a:prstGeom>
          <a:solidFill>
            <a:schemeClr val="accent1"/>
          </a:solidFill>
        </p:spPr>
        <p:txBody>
          <a:bodyPr/>
          <a:lstStyle>
            <a:lvl1pPr marL="0" indent="0" algn="ctr">
              <a:buNone/>
              <a:defRPr>
                <a:noFill/>
                <a:latin typeface="Arial" panose="020B0604020202020204" pitchFamily="34" charset="0"/>
                <a:cs typeface="Arial" panose="020B0604020202020204" pitchFamily="34" charset="0"/>
              </a:defRPr>
            </a:lvl1pPr>
          </a:lstStyle>
          <a:p>
            <a:pPr marL="0" indent="0" algn="ctr">
              <a:buNone/>
            </a:pPr>
            <a:r>
              <a:rPr lang="en-US">
                <a:solidFill>
                  <a:schemeClr val="tx2"/>
                </a:solidFill>
              </a:rPr>
              <a:t>Image</a:t>
            </a:r>
          </a:p>
        </p:txBody>
      </p:sp>
      <p:sp>
        <p:nvSpPr>
          <p:cNvPr id="6" name="Picture Placeholder 2">
            <a:extLst>
              <a:ext uri="{FF2B5EF4-FFF2-40B4-BE49-F238E27FC236}">
                <a16:creationId xmlns:a16="http://schemas.microsoft.com/office/drawing/2014/main" id="{AB2E6C2D-1235-FDDB-2F6A-AEECF80AEC54}"/>
              </a:ext>
            </a:extLst>
          </p:cNvPr>
          <p:cNvSpPr>
            <a:spLocks noGrp="1"/>
          </p:cNvSpPr>
          <p:nvPr>
            <p:ph type="pic" sz="quarter" idx="23" hasCustomPrompt="1"/>
          </p:nvPr>
        </p:nvSpPr>
        <p:spPr>
          <a:xfrm>
            <a:off x="4629150" y="1238250"/>
            <a:ext cx="2057400" cy="1390650"/>
          </a:xfrm>
          <a:prstGeom prst="roundRect">
            <a:avLst>
              <a:gd name="adj" fmla="val 7341"/>
            </a:avLst>
          </a:prstGeom>
          <a:solidFill>
            <a:schemeClr val="accent1"/>
          </a:solidFill>
        </p:spPr>
        <p:txBody>
          <a:bodyPr/>
          <a:lstStyle>
            <a:lvl1pPr marL="0" indent="0" algn="ctr">
              <a:buNone/>
              <a:defRPr>
                <a:noFill/>
                <a:latin typeface="Arial" panose="020B0604020202020204" pitchFamily="34" charset="0"/>
                <a:cs typeface="Arial" panose="020B0604020202020204" pitchFamily="34" charset="0"/>
              </a:defRPr>
            </a:lvl1pPr>
          </a:lstStyle>
          <a:p>
            <a:pPr marL="0" indent="0" algn="ctr">
              <a:buNone/>
            </a:pPr>
            <a:r>
              <a:rPr lang="en-US">
                <a:solidFill>
                  <a:schemeClr val="tx2"/>
                </a:solidFill>
              </a:rPr>
              <a:t>Image</a:t>
            </a:r>
          </a:p>
        </p:txBody>
      </p:sp>
      <p:sp>
        <p:nvSpPr>
          <p:cNvPr id="9" name="Picture Placeholder 2">
            <a:extLst>
              <a:ext uri="{FF2B5EF4-FFF2-40B4-BE49-F238E27FC236}">
                <a16:creationId xmlns:a16="http://schemas.microsoft.com/office/drawing/2014/main" id="{528B7419-64F0-6B08-136A-62FF5794871D}"/>
              </a:ext>
            </a:extLst>
          </p:cNvPr>
          <p:cNvSpPr>
            <a:spLocks noGrp="1"/>
          </p:cNvSpPr>
          <p:nvPr>
            <p:ph type="pic" sz="quarter" idx="24" hasCustomPrompt="1"/>
          </p:nvPr>
        </p:nvSpPr>
        <p:spPr>
          <a:xfrm>
            <a:off x="6800850" y="1238250"/>
            <a:ext cx="2057400" cy="1390650"/>
          </a:xfrm>
          <a:prstGeom prst="roundRect">
            <a:avLst>
              <a:gd name="adj" fmla="val 7341"/>
            </a:avLst>
          </a:prstGeom>
          <a:solidFill>
            <a:schemeClr val="accent1"/>
          </a:solidFill>
        </p:spPr>
        <p:txBody>
          <a:bodyPr/>
          <a:lstStyle>
            <a:lvl1pPr marL="0" indent="0" algn="ctr">
              <a:buNone/>
              <a:defRPr>
                <a:noFill/>
                <a:latin typeface="Arial" panose="020B0604020202020204" pitchFamily="34" charset="0"/>
                <a:cs typeface="Arial" panose="020B0604020202020204" pitchFamily="34" charset="0"/>
              </a:defRPr>
            </a:lvl1pPr>
          </a:lstStyle>
          <a:p>
            <a:pPr marL="0" indent="0" algn="ctr">
              <a:buNone/>
            </a:pPr>
            <a:r>
              <a:rPr lang="en-US">
                <a:solidFill>
                  <a:schemeClr val="tx2"/>
                </a:solidFill>
              </a:rPr>
              <a:t>Image</a:t>
            </a:r>
          </a:p>
        </p:txBody>
      </p:sp>
      <p:pic>
        <p:nvPicPr>
          <p:cNvPr id="4" name="Picture 3">
            <a:extLst>
              <a:ext uri="{FF2B5EF4-FFF2-40B4-BE49-F238E27FC236}">
                <a16:creationId xmlns:a16="http://schemas.microsoft.com/office/drawing/2014/main" id="{5970A1AF-89D6-7761-65B4-A292879687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519947"/>
            <a:ext cx="877226" cy="164479"/>
          </a:xfrm>
          <a:prstGeom prst="rect">
            <a:avLst/>
          </a:prstGeom>
        </p:spPr>
      </p:pic>
      <p:sp>
        <p:nvSpPr>
          <p:cNvPr id="2" name="Title 9">
            <a:extLst>
              <a:ext uri="{FF2B5EF4-FFF2-40B4-BE49-F238E27FC236}">
                <a16:creationId xmlns:a16="http://schemas.microsoft.com/office/drawing/2014/main" id="{1D221717-3461-33E4-08DB-C25141477C20}"/>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Content Placeholder 2">
            <a:extLst>
              <a:ext uri="{FF2B5EF4-FFF2-40B4-BE49-F238E27FC236}">
                <a16:creationId xmlns:a16="http://schemas.microsoft.com/office/drawing/2014/main" id="{2BF5997D-46E3-16BF-60BC-52BE183FE66A}"/>
              </a:ext>
            </a:extLst>
          </p:cNvPr>
          <p:cNvSpPr>
            <a:spLocks noGrp="1"/>
          </p:cNvSpPr>
          <p:nvPr>
            <p:ph sz="quarter" idx="25"/>
          </p:nvPr>
        </p:nvSpPr>
        <p:spPr>
          <a:xfrm>
            <a:off x="285748" y="2755238"/>
            <a:ext cx="2059938" cy="149608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B81EEA30-83F1-21D6-FAA3-DF9975735C58}"/>
              </a:ext>
            </a:extLst>
          </p:cNvPr>
          <p:cNvSpPr>
            <a:spLocks noGrp="1"/>
          </p:cNvSpPr>
          <p:nvPr>
            <p:ph sz="quarter" idx="32"/>
          </p:nvPr>
        </p:nvSpPr>
        <p:spPr>
          <a:xfrm>
            <a:off x="2457452" y="2755238"/>
            <a:ext cx="2059938" cy="149608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FC8387F-2E1E-8093-1597-B7C33B15726A}"/>
              </a:ext>
            </a:extLst>
          </p:cNvPr>
          <p:cNvSpPr>
            <a:spLocks noGrp="1"/>
          </p:cNvSpPr>
          <p:nvPr>
            <p:ph sz="quarter" idx="33"/>
          </p:nvPr>
        </p:nvSpPr>
        <p:spPr>
          <a:xfrm>
            <a:off x="4635112" y="2755238"/>
            <a:ext cx="2059938" cy="149608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EAC5B2E3-B18E-14A5-CB12-865FAB5C5F61}"/>
              </a:ext>
            </a:extLst>
          </p:cNvPr>
          <p:cNvSpPr>
            <a:spLocks noGrp="1"/>
          </p:cNvSpPr>
          <p:nvPr>
            <p:ph sz="quarter" idx="34"/>
          </p:nvPr>
        </p:nvSpPr>
        <p:spPr>
          <a:xfrm>
            <a:off x="6806816" y="2755238"/>
            <a:ext cx="2059938" cy="149608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51AB2576-EF5F-1704-7F17-DB3C85C47E8F}"/>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4">
            <a:extLst>
              <a:ext uri="{FF2B5EF4-FFF2-40B4-BE49-F238E27FC236}">
                <a16:creationId xmlns:a16="http://schemas.microsoft.com/office/drawing/2014/main" id="{133393BF-AFCF-4AFE-B04C-048E8D3C8589}"/>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2913814961"/>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Column Color Boxes">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E5ADD81-523E-AFB5-960D-CCAA45A8054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12" name="Title 9">
            <a:extLst>
              <a:ext uri="{FF2B5EF4-FFF2-40B4-BE49-F238E27FC236}">
                <a16:creationId xmlns:a16="http://schemas.microsoft.com/office/drawing/2014/main" id="{D1FEA992-F7EC-EBCB-BAD5-29772D44067C}"/>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3" name="Content Placeholder 2">
            <a:extLst>
              <a:ext uri="{FF2B5EF4-FFF2-40B4-BE49-F238E27FC236}">
                <a16:creationId xmlns:a16="http://schemas.microsoft.com/office/drawing/2014/main" id="{C63D4742-B3BD-8238-89A3-9AA51524F5D3}"/>
              </a:ext>
            </a:extLst>
          </p:cNvPr>
          <p:cNvSpPr>
            <a:spLocks noGrp="1"/>
          </p:cNvSpPr>
          <p:nvPr>
            <p:ph sz="quarter" idx="25"/>
          </p:nvPr>
        </p:nvSpPr>
        <p:spPr>
          <a:xfrm>
            <a:off x="285749" y="1247111"/>
            <a:ext cx="2059938"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B6C53CB-AAAA-96BF-B57E-6E9EABC64E34}"/>
              </a:ext>
            </a:extLst>
          </p:cNvPr>
          <p:cNvSpPr>
            <a:spLocks noGrp="1"/>
          </p:cNvSpPr>
          <p:nvPr>
            <p:ph sz="quarter" idx="26"/>
          </p:nvPr>
        </p:nvSpPr>
        <p:spPr>
          <a:xfrm>
            <a:off x="2456455" y="1247111"/>
            <a:ext cx="2059938"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51AFE16-360F-C740-DE85-C1F674A9A78F}"/>
              </a:ext>
            </a:extLst>
          </p:cNvPr>
          <p:cNvSpPr>
            <a:spLocks noGrp="1"/>
          </p:cNvSpPr>
          <p:nvPr>
            <p:ph sz="quarter" idx="27"/>
          </p:nvPr>
        </p:nvSpPr>
        <p:spPr>
          <a:xfrm>
            <a:off x="4627161" y="1247112"/>
            <a:ext cx="2059938"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8CCA000C-92FA-B812-051F-9EDDEE18E5B2}"/>
              </a:ext>
            </a:extLst>
          </p:cNvPr>
          <p:cNvSpPr>
            <a:spLocks noGrp="1"/>
          </p:cNvSpPr>
          <p:nvPr>
            <p:ph sz="quarter" idx="28"/>
          </p:nvPr>
        </p:nvSpPr>
        <p:spPr>
          <a:xfrm>
            <a:off x="6797867" y="1247112"/>
            <a:ext cx="2059938"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104F9DDA-18EB-DF58-847D-A2FD21BDD943}"/>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4">
            <a:extLst>
              <a:ext uri="{FF2B5EF4-FFF2-40B4-BE49-F238E27FC236}">
                <a16:creationId xmlns:a16="http://schemas.microsoft.com/office/drawing/2014/main" id="{B7620AB7-3E03-480C-54EC-8EC51A732176}"/>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2569295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 Column Color Boxes">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FC2769-BDEF-3E16-806A-2651F29EE32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A2B4532F-28C0-32B6-F8E7-07FE321C706E}"/>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2" name="Content Placeholder 2">
            <a:extLst>
              <a:ext uri="{FF2B5EF4-FFF2-40B4-BE49-F238E27FC236}">
                <a16:creationId xmlns:a16="http://schemas.microsoft.com/office/drawing/2014/main" id="{AF202944-3751-91BC-3DC3-E171E1B409C8}"/>
              </a:ext>
            </a:extLst>
          </p:cNvPr>
          <p:cNvSpPr>
            <a:spLocks noGrp="1"/>
          </p:cNvSpPr>
          <p:nvPr>
            <p:ph sz="quarter" idx="25"/>
          </p:nvPr>
        </p:nvSpPr>
        <p:spPr>
          <a:xfrm>
            <a:off x="285748" y="1247111"/>
            <a:ext cx="2781299"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EFB25D9A-F42E-3BC6-C513-4D50C99878F8}"/>
              </a:ext>
            </a:extLst>
          </p:cNvPr>
          <p:cNvSpPr>
            <a:spLocks noGrp="1"/>
          </p:cNvSpPr>
          <p:nvPr>
            <p:ph sz="quarter" idx="26"/>
          </p:nvPr>
        </p:nvSpPr>
        <p:spPr>
          <a:xfrm>
            <a:off x="6082249" y="1247111"/>
            <a:ext cx="2781299"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A842D3A3-81FD-38E8-B91E-16FD6983C5E0}"/>
              </a:ext>
            </a:extLst>
          </p:cNvPr>
          <p:cNvSpPr>
            <a:spLocks noGrp="1"/>
          </p:cNvSpPr>
          <p:nvPr>
            <p:ph sz="quarter" idx="27"/>
          </p:nvPr>
        </p:nvSpPr>
        <p:spPr>
          <a:xfrm>
            <a:off x="3183998" y="1247111"/>
            <a:ext cx="2781299"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D4570BF5-FC06-6DCD-ECE5-D5B65DF558D0}"/>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1A58287D-3179-965F-60B0-C74D6BB9B5B9}"/>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2918301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Color Boxes">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2FC462-A897-C060-CE6B-5ABE181A336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61BAA3FB-5D82-7D43-0605-E325A32AA53D}"/>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Content Placeholder 2">
            <a:extLst>
              <a:ext uri="{FF2B5EF4-FFF2-40B4-BE49-F238E27FC236}">
                <a16:creationId xmlns:a16="http://schemas.microsoft.com/office/drawing/2014/main" id="{12C079A6-E8F2-FF76-4BAA-C3937E9BABA0}"/>
              </a:ext>
            </a:extLst>
          </p:cNvPr>
          <p:cNvSpPr>
            <a:spLocks noGrp="1"/>
          </p:cNvSpPr>
          <p:nvPr>
            <p:ph sz="quarter" idx="25"/>
          </p:nvPr>
        </p:nvSpPr>
        <p:spPr>
          <a:xfrm>
            <a:off x="285748" y="1247111"/>
            <a:ext cx="4229100"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AADF4E6E-6725-CD44-CFFD-853E73CBB1B5}"/>
              </a:ext>
            </a:extLst>
          </p:cNvPr>
          <p:cNvSpPr>
            <a:spLocks noGrp="1"/>
          </p:cNvSpPr>
          <p:nvPr>
            <p:ph sz="quarter" idx="26"/>
          </p:nvPr>
        </p:nvSpPr>
        <p:spPr>
          <a:xfrm>
            <a:off x="4635111" y="1247111"/>
            <a:ext cx="4229100" cy="3004213"/>
          </a:xfrm>
          <a:prstGeom prst="roundRect">
            <a:avLst>
              <a:gd name="adj" fmla="val 9333"/>
            </a:avLst>
          </a:prstGeom>
          <a:solidFill>
            <a:schemeClr val="accent1">
              <a:lumMod val="40000"/>
              <a:lumOff val="60000"/>
            </a:schemeClr>
          </a:solidFill>
        </p:spPr>
        <p:txBody>
          <a:bodyPr/>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D7FEA570-B6D0-17EC-59F8-9930B27BF808}"/>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4">
            <a:extLst>
              <a:ext uri="{FF2B5EF4-FFF2-40B4-BE49-F238E27FC236}">
                <a16:creationId xmlns:a16="http://schemas.microsoft.com/office/drawing/2014/main" id="{308C8A8E-6148-0E06-2982-FBBA7134AD3D}"/>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995223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Our Team">
    <p:bg>
      <p:bgPr>
        <a:solidFill>
          <a:schemeClr val="bg2"/>
        </a:solidFill>
        <a:effectLst/>
      </p:bgPr>
    </p:bg>
    <p:spTree>
      <p:nvGrpSpPr>
        <p:cNvPr id="1" name=""/>
        <p:cNvGrpSpPr/>
        <p:nvPr/>
      </p:nvGrpSpPr>
      <p:grpSpPr>
        <a:xfrm>
          <a:off x="0" y="0"/>
          <a:ext cx="0" cy="0"/>
          <a:chOff x="0" y="0"/>
          <a:chExt cx="0" cy="0"/>
        </a:xfrm>
      </p:grpSpPr>
      <p:sp>
        <p:nvSpPr>
          <p:cNvPr id="37" name="Text Placeholder 32">
            <a:extLst>
              <a:ext uri="{FF2B5EF4-FFF2-40B4-BE49-F238E27FC236}">
                <a16:creationId xmlns:a16="http://schemas.microsoft.com/office/drawing/2014/main" id="{17A77E82-F44F-C446-C094-953B2FB706E3}"/>
              </a:ext>
            </a:extLst>
          </p:cNvPr>
          <p:cNvSpPr>
            <a:spLocks noGrp="1"/>
          </p:cNvSpPr>
          <p:nvPr>
            <p:ph type="body" sz="quarter" idx="40" hasCustomPrompt="1"/>
          </p:nvPr>
        </p:nvSpPr>
        <p:spPr>
          <a:xfrm>
            <a:off x="285749" y="1524267"/>
            <a:ext cx="2636306" cy="482087"/>
          </a:xfrm>
          <a:prstGeom prst="rect">
            <a:avLst/>
          </a:prstGeom>
        </p:spPr>
        <p:txBody>
          <a:bodyPr lIns="0" tIns="0" rIns="0" bIns="0"/>
          <a:lstStyle>
            <a:lvl1pPr marL="0" indent="0">
              <a:buNone/>
              <a:defRPr sz="1400" b="0" i="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62" name="Text Placeholder 32">
            <a:extLst>
              <a:ext uri="{FF2B5EF4-FFF2-40B4-BE49-F238E27FC236}">
                <a16:creationId xmlns:a16="http://schemas.microsoft.com/office/drawing/2014/main" id="{612FB9CA-EFF6-C5BA-9F77-6AF7B9A58D39}"/>
              </a:ext>
            </a:extLst>
          </p:cNvPr>
          <p:cNvSpPr>
            <a:spLocks noGrp="1"/>
          </p:cNvSpPr>
          <p:nvPr>
            <p:ph type="body" sz="quarter" idx="56" hasCustomPrompt="1"/>
          </p:nvPr>
        </p:nvSpPr>
        <p:spPr>
          <a:xfrm>
            <a:off x="285749" y="1241439"/>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7" name="Text Placeholder 32">
            <a:extLst>
              <a:ext uri="{FF2B5EF4-FFF2-40B4-BE49-F238E27FC236}">
                <a16:creationId xmlns:a16="http://schemas.microsoft.com/office/drawing/2014/main" id="{F259CF09-B4A5-0F58-1898-E3D712358959}"/>
              </a:ext>
            </a:extLst>
          </p:cNvPr>
          <p:cNvSpPr>
            <a:spLocks noGrp="1"/>
          </p:cNvSpPr>
          <p:nvPr>
            <p:ph type="body" sz="quarter" idx="57" hasCustomPrompt="1"/>
          </p:nvPr>
        </p:nvSpPr>
        <p:spPr>
          <a:xfrm>
            <a:off x="3255453" y="1524267"/>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8" name="Text Placeholder 32">
            <a:extLst>
              <a:ext uri="{FF2B5EF4-FFF2-40B4-BE49-F238E27FC236}">
                <a16:creationId xmlns:a16="http://schemas.microsoft.com/office/drawing/2014/main" id="{BEEBD8DD-F83A-8380-CCF7-1578F50C55D7}"/>
              </a:ext>
            </a:extLst>
          </p:cNvPr>
          <p:cNvSpPr>
            <a:spLocks noGrp="1"/>
          </p:cNvSpPr>
          <p:nvPr>
            <p:ph type="body" sz="quarter" idx="58" hasCustomPrompt="1"/>
          </p:nvPr>
        </p:nvSpPr>
        <p:spPr>
          <a:xfrm>
            <a:off x="3255453" y="1241439"/>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11" name="Text Placeholder 32">
            <a:extLst>
              <a:ext uri="{FF2B5EF4-FFF2-40B4-BE49-F238E27FC236}">
                <a16:creationId xmlns:a16="http://schemas.microsoft.com/office/drawing/2014/main" id="{2C480506-E919-F1D1-66C6-FF9FC864055D}"/>
              </a:ext>
            </a:extLst>
          </p:cNvPr>
          <p:cNvSpPr>
            <a:spLocks noGrp="1"/>
          </p:cNvSpPr>
          <p:nvPr>
            <p:ph type="body" sz="quarter" idx="59" hasCustomPrompt="1"/>
          </p:nvPr>
        </p:nvSpPr>
        <p:spPr>
          <a:xfrm>
            <a:off x="6225156" y="1524267"/>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12" name="Text Placeholder 32">
            <a:extLst>
              <a:ext uri="{FF2B5EF4-FFF2-40B4-BE49-F238E27FC236}">
                <a16:creationId xmlns:a16="http://schemas.microsoft.com/office/drawing/2014/main" id="{FAF2258E-F735-AFDA-6CE6-8CB10ECB408E}"/>
              </a:ext>
            </a:extLst>
          </p:cNvPr>
          <p:cNvSpPr>
            <a:spLocks noGrp="1"/>
          </p:cNvSpPr>
          <p:nvPr>
            <p:ph type="body" sz="quarter" idx="60" hasCustomPrompt="1"/>
          </p:nvPr>
        </p:nvSpPr>
        <p:spPr>
          <a:xfrm>
            <a:off x="6225156" y="1241439"/>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13" name="Text Placeholder 32">
            <a:extLst>
              <a:ext uri="{FF2B5EF4-FFF2-40B4-BE49-F238E27FC236}">
                <a16:creationId xmlns:a16="http://schemas.microsoft.com/office/drawing/2014/main" id="{BC3C8055-CC87-B476-4EAD-1EB99FD671F3}"/>
              </a:ext>
            </a:extLst>
          </p:cNvPr>
          <p:cNvSpPr>
            <a:spLocks noGrp="1"/>
          </p:cNvSpPr>
          <p:nvPr>
            <p:ph type="body" sz="quarter" idx="61" hasCustomPrompt="1"/>
          </p:nvPr>
        </p:nvSpPr>
        <p:spPr>
          <a:xfrm>
            <a:off x="285749" y="2539335"/>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14" name="Text Placeholder 32">
            <a:extLst>
              <a:ext uri="{FF2B5EF4-FFF2-40B4-BE49-F238E27FC236}">
                <a16:creationId xmlns:a16="http://schemas.microsoft.com/office/drawing/2014/main" id="{0436C207-6A68-6F6C-FAEA-EC4E397FDB29}"/>
              </a:ext>
            </a:extLst>
          </p:cNvPr>
          <p:cNvSpPr>
            <a:spLocks noGrp="1"/>
          </p:cNvSpPr>
          <p:nvPr>
            <p:ph type="body" sz="quarter" idx="62" hasCustomPrompt="1"/>
          </p:nvPr>
        </p:nvSpPr>
        <p:spPr>
          <a:xfrm>
            <a:off x="285749" y="2256507"/>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16" name="Text Placeholder 32">
            <a:extLst>
              <a:ext uri="{FF2B5EF4-FFF2-40B4-BE49-F238E27FC236}">
                <a16:creationId xmlns:a16="http://schemas.microsoft.com/office/drawing/2014/main" id="{D64EA168-E59C-6325-0E17-4AA81A741528}"/>
              </a:ext>
            </a:extLst>
          </p:cNvPr>
          <p:cNvSpPr>
            <a:spLocks noGrp="1"/>
          </p:cNvSpPr>
          <p:nvPr>
            <p:ph type="body" sz="quarter" idx="63" hasCustomPrompt="1"/>
          </p:nvPr>
        </p:nvSpPr>
        <p:spPr>
          <a:xfrm>
            <a:off x="3255453" y="2539335"/>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17" name="Text Placeholder 32">
            <a:extLst>
              <a:ext uri="{FF2B5EF4-FFF2-40B4-BE49-F238E27FC236}">
                <a16:creationId xmlns:a16="http://schemas.microsoft.com/office/drawing/2014/main" id="{7A25AD57-1CB6-ACA0-0A4E-FF3054D67A1B}"/>
              </a:ext>
            </a:extLst>
          </p:cNvPr>
          <p:cNvSpPr>
            <a:spLocks noGrp="1"/>
          </p:cNvSpPr>
          <p:nvPr>
            <p:ph type="body" sz="quarter" idx="64" hasCustomPrompt="1"/>
          </p:nvPr>
        </p:nvSpPr>
        <p:spPr>
          <a:xfrm>
            <a:off x="3255453" y="2256507"/>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18" name="Text Placeholder 32">
            <a:extLst>
              <a:ext uri="{FF2B5EF4-FFF2-40B4-BE49-F238E27FC236}">
                <a16:creationId xmlns:a16="http://schemas.microsoft.com/office/drawing/2014/main" id="{54DA8E9A-84F5-D176-14FA-DBAF0E92DF4F}"/>
              </a:ext>
            </a:extLst>
          </p:cNvPr>
          <p:cNvSpPr>
            <a:spLocks noGrp="1"/>
          </p:cNvSpPr>
          <p:nvPr>
            <p:ph type="body" sz="quarter" idx="65" hasCustomPrompt="1"/>
          </p:nvPr>
        </p:nvSpPr>
        <p:spPr>
          <a:xfrm>
            <a:off x="6225156" y="2539335"/>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19" name="Text Placeholder 32">
            <a:extLst>
              <a:ext uri="{FF2B5EF4-FFF2-40B4-BE49-F238E27FC236}">
                <a16:creationId xmlns:a16="http://schemas.microsoft.com/office/drawing/2014/main" id="{4558CDF7-BA45-4CA2-96BA-0183D9BED92C}"/>
              </a:ext>
            </a:extLst>
          </p:cNvPr>
          <p:cNvSpPr>
            <a:spLocks noGrp="1"/>
          </p:cNvSpPr>
          <p:nvPr>
            <p:ph type="body" sz="quarter" idx="66" hasCustomPrompt="1"/>
          </p:nvPr>
        </p:nvSpPr>
        <p:spPr>
          <a:xfrm>
            <a:off x="6225156" y="2256507"/>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26" name="Text Placeholder 32">
            <a:extLst>
              <a:ext uri="{FF2B5EF4-FFF2-40B4-BE49-F238E27FC236}">
                <a16:creationId xmlns:a16="http://schemas.microsoft.com/office/drawing/2014/main" id="{51E446C3-D74C-ED94-76B0-E4F2E686027A}"/>
              </a:ext>
            </a:extLst>
          </p:cNvPr>
          <p:cNvSpPr>
            <a:spLocks noGrp="1"/>
          </p:cNvSpPr>
          <p:nvPr>
            <p:ph type="body" sz="quarter" idx="67" hasCustomPrompt="1"/>
          </p:nvPr>
        </p:nvSpPr>
        <p:spPr>
          <a:xfrm>
            <a:off x="285749" y="3554403"/>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27" name="Text Placeholder 32">
            <a:extLst>
              <a:ext uri="{FF2B5EF4-FFF2-40B4-BE49-F238E27FC236}">
                <a16:creationId xmlns:a16="http://schemas.microsoft.com/office/drawing/2014/main" id="{B8FE863A-B7CA-042C-4AC0-1D5E561B5DDB}"/>
              </a:ext>
            </a:extLst>
          </p:cNvPr>
          <p:cNvSpPr>
            <a:spLocks noGrp="1"/>
          </p:cNvSpPr>
          <p:nvPr>
            <p:ph type="body" sz="quarter" idx="68" hasCustomPrompt="1"/>
          </p:nvPr>
        </p:nvSpPr>
        <p:spPr>
          <a:xfrm>
            <a:off x="285749" y="3271575"/>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28" name="Text Placeholder 32">
            <a:extLst>
              <a:ext uri="{FF2B5EF4-FFF2-40B4-BE49-F238E27FC236}">
                <a16:creationId xmlns:a16="http://schemas.microsoft.com/office/drawing/2014/main" id="{68579BDA-1A03-45AD-8268-0ABCCDC4E993}"/>
              </a:ext>
            </a:extLst>
          </p:cNvPr>
          <p:cNvSpPr>
            <a:spLocks noGrp="1"/>
          </p:cNvSpPr>
          <p:nvPr>
            <p:ph type="body" sz="quarter" idx="69" hasCustomPrompt="1"/>
          </p:nvPr>
        </p:nvSpPr>
        <p:spPr>
          <a:xfrm>
            <a:off x="3255453" y="3554403"/>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29" name="Text Placeholder 32">
            <a:extLst>
              <a:ext uri="{FF2B5EF4-FFF2-40B4-BE49-F238E27FC236}">
                <a16:creationId xmlns:a16="http://schemas.microsoft.com/office/drawing/2014/main" id="{99D65929-1C22-BEAD-59C0-1689484E5388}"/>
              </a:ext>
            </a:extLst>
          </p:cNvPr>
          <p:cNvSpPr>
            <a:spLocks noGrp="1"/>
          </p:cNvSpPr>
          <p:nvPr>
            <p:ph type="body" sz="quarter" idx="70" hasCustomPrompt="1"/>
          </p:nvPr>
        </p:nvSpPr>
        <p:spPr>
          <a:xfrm>
            <a:off x="3255453" y="3271575"/>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30" name="Text Placeholder 32">
            <a:extLst>
              <a:ext uri="{FF2B5EF4-FFF2-40B4-BE49-F238E27FC236}">
                <a16:creationId xmlns:a16="http://schemas.microsoft.com/office/drawing/2014/main" id="{1EC95862-7AA6-EBBE-E5E8-781ABE5ADEAD}"/>
              </a:ext>
            </a:extLst>
          </p:cNvPr>
          <p:cNvSpPr>
            <a:spLocks noGrp="1"/>
          </p:cNvSpPr>
          <p:nvPr>
            <p:ph type="body" sz="quarter" idx="71" hasCustomPrompt="1"/>
          </p:nvPr>
        </p:nvSpPr>
        <p:spPr>
          <a:xfrm>
            <a:off x="6225156" y="3554403"/>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31" name="Text Placeholder 32">
            <a:extLst>
              <a:ext uri="{FF2B5EF4-FFF2-40B4-BE49-F238E27FC236}">
                <a16:creationId xmlns:a16="http://schemas.microsoft.com/office/drawing/2014/main" id="{6BB2EEB0-643D-9D88-9ACC-2EF8AE696D1E}"/>
              </a:ext>
            </a:extLst>
          </p:cNvPr>
          <p:cNvSpPr>
            <a:spLocks noGrp="1"/>
          </p:cNvSpPr>
          <p:nvPr>
            <p:ph type="body" sz="quarter" idx="72" hasCustomPrompt="1"/>
          </p:nvPr>
        </p:nvSpPr>
        <p:spPr>
          <a:xfrm>
            <a:off x="6225156" y="3271575"/>
            <a:ext cx="2636306"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pic>
        <p:nvPicPr>
          <p:cNvPr id="2" name="Picture 1">
            <a:extLst>
              <a:ext uri="{FF2B5EF4-FFF2-40B4-BE49-F238E27FC236}">
                <a16:creationId xmlns:a16="http://schemas.microsoft.com/office/drawing/2014/main" id="{6F7A9A76-9EAB-D8A3-08A8-E4A340520EB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542426"/>
            <a:ext cx="877226" cy="164479"/>
          </a:xfrm>
          <a:prstGeom prst="rect">
            <a:avLst/>
          </a:prstGeom>
        </p:spPr>
      </p:pic>
      <p:sp>
        <p:nvSpPr>
          <p:cNvPr id="3" name="Text Placeholder 4">
            <a:extLst>
              <a:ext uri="{FF2B5EF4-FFF2-40B4-BE49-F238E27FC236}">
                <a16:creationId xmlns:a16="http://schemas.microsoft.com/office/drawing/2014/main" id="{09649A23-92D0-9A18-0C00-2C023746C86E}"/>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
        <p:nvSpPr>
          <p:cNvPr id="6" name="Title 9">
            <a:extLst>
              <a:ext uri="{FF2B5EF4-FFF2-40B4-BE49-F238E27FC236}">
                <a16:creationId xmlns:a16="http://schemas.microsoft.com/office/drawing/2014/main" id="{46246BFD-3422-52E2-0AFA-2BA12F338598}"/>
              </a:ext>
            </a:extLst>
          </p:cNvPr>
          <p:cNvSpPr>
            <a:spLocks noGrp="1"/>
          </p:cNvSpPr>
          <p:nvPr>
            <p:ph type="title" hasCustomPrompt="1"/>
          </p:nvPr>
        </p:nvSpPr>
        <p:spPr>
          <a:xfrm>
            <a:off x="285749" y="544678"/>
            <a:ext cx="8583613"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9" name="Rectangle 8">
            <a:extLst>
              <a:ext uri="{FF2B5EF4-FFF2-40B4-BE49-F238E27FC236}">
                <a16:creationId xmlns:a16="http://schemas.microsoft.com/office/drawing/2014/main" id="{F62E8857-4D4F-F186-EDA4-CB21DB1451F0}"/>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2563506"/>
      </p:ext>
    </p:extLst>
  </p:cSld>
  <p:clrMapOvr>
    <a:masterClrMapping/>
  </p:clrMapOvr>
  <p:extLst>
    <p:ext uri="{DCECCB84-F9BA-43D5-87BE-67443E8EF086}">
      <p15:sldGuideLst xmlns:p15="http://schemas.microsoft.com/office/powerpoint/2012/main">
        <p15:guide id="1" orient="horz" pos="1218">
          <p15:clr>
            <a:srgbClr val="FBAE40"/>
          </p15:clr>
        </p15:guide>
        <p15:guide id="2"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aph with Text">
    <p:bg>
      <p:bgPr>
        <a:solidFill>
          <a:schemeClr val="bg2"/>
        </a:solidFill>
        <a:effectLst/>
      </p:bgPr>
    </p:bg>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5A1EF814-3E08-C936-7BD3-0A4857A187A5}"/>
              </a:ext>
            </a:extLst>
          </p:cNvPr>
          <p:cNvSpPr>
            <a:spLocks noGrp="1"/>
          </p:cNvSpPr>
          <p:nvPr>
            <p:ph type="chart" sz="quarter" idx="16"/>
          </p:nvPr>
        </p:nvSpPr>
        <p:spPr>
          <a:xfrm>
            <a:off x="4629150" y="1233848"/>
            <a:ext cx="4229100" cy="3017478"/>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chart</a:t>
            </a:r>
          </a:p>
        </p:txBody>
      </p:sp>
      <p:pic>
        <p:nvPicPr>
          <p:cNvPr id="4" name="Picture 3">
            <a:extLst>
              <a:ext uri="{FF2B5EF4-FFF2-40B4-BE49-F238E27FC236}">
                <a16:creationId xmlns:a16="http://schemas.microsoft.com/office/drawing/2014/main" id="{DCF4C1C4-2032-2177-EAAC-E005FB840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088F5113-9829-A1A3-CBFA-B2B99425EFFE}"/>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Content Placeholder 2">
            <a:extLst>
              <a:ext uri="{FF2B5EF4-FFF2-40B4-BE49-F238E27FC236}">
                <a16:creationId xmlns:a16="http://schemas.microsoft.com/office/drawing/2014/main" id="{93921D40-F86D-E8DE-9F1B-B2AAD26F762C}"/>
              </a:ext>
            </a:extLst>
          </p:cNvPr>
          <p:cNvSpPr>
            <a:spLocks noGrp="1"/>
          </p:cNvSpPr>
          <p:nvPr>
            <p:ph sz="quarter" idx="17"/>
          </p:nvPr>
        </p:nvSpPr>
        <p:spPr>
          <a:xfrm>
            <a:off x="285750" y="1233847"/>
            <a:ext cx="4229100" cy="30174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1DB6AEB-5F7E-7753-64EC-F3BD71FB3B46}"/>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4">
            <a:extLst>
              <a:ext uri="{FF2B5EF4-FFF2-40B4-BE49-F238E27FC236}">
                <a16:creationId xmlns:a16="http://schemas.microsoft.com/office/drawing/2014/main" id="{6858EFF5-A32F-563E-D360-3C572E434E1C}"/>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483215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aph with Text (Vertical)">
    <p:bg>
      <p:bgPr>
        <a:solidFill>
          <a:schemeClr val="bg2"/>
        </a:solidFill>
        <a:effectLst/>
      </p:bgPr>
    </p:bg>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5A1EF814-3E08-C936-7BD3-0A4857A187A5}"/>
              </a:ext>
            </a:extLst>
          </p:cNvPr>
          <p:cNvSpPr>
            <a:spLocks noGrp="1"/>
          </p:cNvSpPr>
          <p:nvPr>
            <p:ph type="chart" sz="quarter" idx="16"/>
          </p:nvPr>
        </p:nvSpPr>
        <p:spPr>
          <a:xfrm>
            <a:off x="4629150" y="0"/>
            <a:ext cx="422910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chart</a:t>
            </a:r>
          </a:p>
        </p:txBody>
      </p:sp>
      <p:pic>
        <p:nvPicPr>
          <p:cNvPr id="5" name="Picture 4">
            <a:extLst>
              <a:ext uri="{FF2B5EF4-FFF2-40B4-BE49-F238E27FC236}">
                <a16:creationId xmlns:a16="http://schemas.microsoft.com/office/drawing/2014/main" id="{AFDFC184-E821-DBD8-F300-3FA0BD01C44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5751" y="4705685"/>
            <a:ext cx="877226" cy="164479"/>
          </a:xfrm>
          <a:prstGeom prst="rect">
            <a:avLst/>
          </a:prstGeom>
        </p:spPr>
      </p:pic>
      <p:sp>
        <p:nvSpPr>
          <p:cNvPr id="3" name="Content Placeholder 2">
            <a:extLst>
              <a:ext uri="{FF2B5EF4-FFF2-40B4-BE49-F238E27FC236}">
                <a16:creationId xmlns:a16="http://schemas.microsoft.com/office/drawing/2014/main" id="{0D4EF062-B51A-9F4A-F213-33326DA051DE}"/>
              </a:ext>
            </a:extLst>
          </p:cNvPr>
          <p:cNvSpPr>
            <a:spLocks noGrp="1"/>
          </p:cNvSpPr>
          <p:nvPr>
            <p:ph sz="quarter" idx="17"/>
          </p:nvPr>
        </p:nvSpPr>
        <p:spPr>
          <a:xfrm>
            <a:off x="285750" y="1233847"/>
            <a:ext cx="352425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9">
            <a:extLst>
              <a:ext uri="{FF2B5EF4-FFF2-40B4-BE49-F238E27FC236}">
                <a16:creationId xmlns:a16="http://schemas.microsoft.com/office/drawing/2014/main" id="{5C493122-4FF6-11F0-0F43-BD96153C8595}"/>
              </a:ext>
            </a:extLst>
          </p:cNvPr>
          <p:cNvSpPr>
            <a:spLocks noGrp="1"/>
          </p:cNvSpPr>
          <p:nvPr>
            <p:ph type="title" hasCustomPrompt="1"/>
          </p:nvPr>
        </p:nvSpPr>
        <p:spPr>
          <a:xfrm>
            <a:off x="285749" y="544678"/>
            <a:ext cx="3524251"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Rectangle 6">
            <a:extLst>
              <a:ext uri="{FF2B5EF4-FFF2-40B4-BE49-F238E27FC236}">
                <a16:creationId xmlns:a16="http://schemas.microsoft.com/office/drawing/2014/main" id="{59ED7562-035B-C79D-13B0-B65380D9D343}"/>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76DA6A32-444A-DFB1-08BC-C1AE658AC3FD}"/>
              </a:ext>
            </a:extLst>
          </p:cNvPr>
          <p:cNvSpPr>
            <a:spLocks noGrp="1"/>
          </p:cNvSpPr>
          <p:nvPr>
            <p:ph type="body" sz="quarter" idx="11" hasCustomPrompt="1"/>
          </p:nvPr>
        </p:nvSpPr>
        <p:spPr>
          <a:xfrm>
            <a:off x="285750" y="320647"/>
            <a:ext cx="3524250"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4211885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Graph (No Text)">
    <p:bg>
      <p:bgPr>
        <a:solidFill>
          <a:schemeClr val="bg2"/>
        </a:solidFill>
        <a:effectLst/>
      </p:bgPr>
    </p:bg>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5A1EF814-3E08-C936-7BD3-0A4857A187A5}"/>
              </a:ext>
            </a:extLst>
          </p:cNvPr>
          <p:cNvSpPr>
            <a:spLocks noGrp="1"/>
          </p:cNvSpPr>
          <p:nvPr>
            <p:ph type="chart" sz="quarter" idx="16"/>
          </p:nvPr>
        </p:nvSpPr>
        <p:spPr>
          <a:xfrm>
            <a:off x="285750" y="1233487"/>
            <a:ext cx="8572500" cy="3406775"/>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chart</a:t>
            </a:r>
          </a:p>
        </p:txBody>
      </p:sp>
      <p:pic>
        <p:nvPicPr>
          <p:cNvPr id="3" name="Picture 2">
            <a:extLst>
              <a:ext uri="{FF2B5EF4-FFF2-40B4-BE49-F238E27FC236}">
                <a16:creationId xmlns:a16="http://schemas.microsoft.com/office/drawing/2014/main" id="{D6A203A8-42F0-F2B0-866E-80FC1988C6E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0C0CDD53-4D7E-3D8E-6DBC-FB114DFF8A17}"/>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4" name="Rectangle 3">
            <a:extLst>
              <a:ext uri="{FF2B5EF4-FFF2-40B4-BE49-F238E27FC236}">
                <a16:creationId xmlns:a16="http://schemas.microsoft.com/office/drawing/2014/main" id="{8B87C336-53C8-1601-0957-B993DE57DEFC}"/>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C3E2D988-107A-E7B2-6613-8FB0619AB8EE}"/>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26760433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roduct Information Slide">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423F83F-8299-EF50-DA69-D010926BB09D}"/>
              </a:ext>
            </a:extLst>
          </p:cNvPr>
          <p:cNvSpPr/>
          <p:nvPr/>
        </p:nvSpPr>
        <p:spPr>
          <a:xfrm>
            <a:off x="6076950" y="0"/>
            <a:ext cx="3067050" cy="51435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14" name="Rounded Rectangle 13">
            <a:extLst>
              <a:ext uri="{FF2B5EF4-FFF2-40B4-BE49-F238E27FC236}">
                <a16:creationId xmlns:a16="http://schemas.microsoft.com/office/drawing/2014/main" id="{FE601CB2-5B25-E761-6B32-58E2BA4F1045}"/>
              </a:ext>
            </a:extLst>
          </p:cNvPr>
          <p:cNvSpPr/>
          <p:nvPr/>
        </p:nvSpPr>
        <p:spPr>
          <a:xfrm>
            <a:off x="6953250" y="3154363"/>
            <a:ext cx="1333500" cy="1333500"/>
          </a:xfrm>
          <a:prstGeom prst="roundRect">
            <a:avLst>
              <a:gd name="adj" fmla="val 997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8" name="Picture Placeholder 7">
            <a:extLst>
              <a:ext uri="{FF2B5EF4-FFF2-40B4-BE49-F238E27FC236}">
                <a16:creationId xmlns:a16="http://schemas.microsoft.com/office/drawing/2014/main" id="{501A3A50-DB30-49F2-95B1-45A60B63C590}"/>
              </a:ext>
            </a:extLst>
          </p:cNvPr>
          <p:cNvSpPr>
            <a:spLocks noGrp="1"/>
          </p:cNvSpPr>
          <p:nvPr>
            <p:ph type="pic" sz="quarter" idx="16"/>
          </p:nvPr>
        </p:nvSpPr>
        <p:spPr>
          <a:xfrm>
            <a:off x="7134225" y="3335338"/>
            <a:ext cx="971550" cy="971550"/>
          </a:xfrm>
          <a:prstGeom prst="rect">
            <a:avLst/>
          </a:prstGeom>
        </p:spPr>
        <p:txBody>
          <a:bodyPr lIns="0" tIns="0" rIns="0" bIns="0"/>
          <a:lstStyle>
            <a:lvl1pPr>
              <a:defRPr b="0">
                <a:latin typeface="Arial" panose="020B0604020202020204" pitchFamily="34" charset="0"/>
                <a:cs typeface="Arial" panose="020B0604020202020204" pitchFamily="34" charset="0"/>
              </a:defRPr>
            </a:lvl1pPr>
          </a:lstStyle>
          <a:p>
            <a:r>
              <a:rPr lang="en-US"/>
              <a:t>Click icon to add picture</a:t>
            </a:r>
          </a:p>
        </p:txBody>
      </p:sp>
      <p:pic>
        <p:nvPicPr>
          <p:cNvPr id="5" name="Picture 4">
            <a:extLst>
              <a:ext uri="{FF2B5EF4-FFF2-40B4-BE49-F238E27FC236}">
                <a16:creationId xmlns:a16="http://schemas.microsoft.com/office/drawing/2014/main" id="{CF74E89A-21B6-CC51-08F0-227BF1FDEDA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5751" y="4705685"/>
            <a:ext cx="877226" cy="164479"/>
          </a:xfrm>
          <a:prstGeom prst="rect">
            <a:avLst/>
          </a:prstGeom>
        </p:spPr>
      </p:pic>
      <p:sp>
        <p:nvSpPr>
          <p:cNvPr id="3" name="Content Placeholder 2">
            <a:extLst>
              <a:ext uri="{FF2B5EF4-FFF2-40B4-BE49-F238E27FC236}">
                <a16:creationId xmlns:a16="http://schemas.microsoft.com/office/drawing/2014/main" id="{A163C37E-4E36-1C92-9CBA-4D5D56956D17}"/>
              </a:ext>
            </a:extLst>
          </p:cNvPr>
          <p:cNvSpPr>
            <a:spLocks noGrp="1"/>
          </p:cNvSpPr>
          <p:nvPr>
            <p:ph sz="quarter" idx="17"/>
          </p:nvPr>
        </p:nvSpPr>
        <p:spPr>
          <a:xfrm>
            <a:off x="285749" y="1233847"/>
            <a:ext cx="5478945"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9">
            <a:extLst>
              <a:ext uri="{FF2B5EF4-FFF2-40B4-BE49-F238E27FC236}">
                <a16:creationId xmlns:a16="http://schemas.microsoft.com/office/drawing/2014/main" id="{3B28E921-D4CF-F897-14FF-CB65C14C601E}"/>
              </a:ext>
            </a:extLst>
          </p:cNvPr>
          <p:cNvSpPr>
            <a:spLocks noGrp="1"/>
          </p:cNvSpPr>
          <p:nvPr>
            <p:ph type="title" hasCustomPrompt="1"/>
          </p:nvPr>
        </p:nvSpPr>
        <p:spPr>
          <a:xfrm>
            <a:off x="285749" y="544678"/>
            <a:ext cx="5478945"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Rectangle 6">
            <a:extLst>
              <a:ext uri="{FF2B5EF4-FFF2-40B4-BE49-F238E27FC236}">
                <a16:creationId xmlns:a16="http://schemas.microsoft.com/office/drawing/2014/main" id="{CD93641F-AD0F-21EA-2173-0B7F4299CCD1}"/>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72FF5D1E-B2B9-4E62-486E-EFB09254D77B}"/>
              </a:ext>
            </a:extLst>
          </p:cNvPr>
          <p:cNvSpPr>
            <a:spLocks noGrp="1"/>
          </p:cNvSpPr>
          <p:nvPr>
            <p:ph type="body" sz="quarter" idx="11" hasCustomPrompt="1"/>
          </p:nvPr>
        </p:nvSpPr>
        <p:spPr>
          <a:xfrm>
            <a:off x="285749" y="320647"/>
            <a:ext cx="5478945"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787548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roduct Slide (Laptop Mockup)">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C2A109A-9188-47B4-B690-3305A6D69D0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038600" y="1225386"/>
            <a:ext cx="6397338" cy="3718142"/>
          </a:xfrm>
          <a:prstGeom prst="rect">
            <a:avLst/>
          </a:prstGeom>
        </p:spPr>
      </p:pic>
      <p:sp>
        <p:nvSpPr>
          <p:cNvPr id="7" name="Picture Placeholder 6">
            <a:extLst>
              <a:ext uri="{FF2B5EF4-FFF2-40B4-BE49-F238E27FC236}">
                <a16:creationId xmlns:a16="http://schemas.microsoft.com/office/drawing/2014/main" id="{DAABF99D-FCF1-089B-9152-EA0485EDCA78}"/>
              </a:ext>
            </a:extLst>
          </p:cNvPr>
          <p:cNvSpPr>
            <a:spLocks noGrp="1"/>
          </p:cNvSpPr>
          <p:nvPr>
            <p:ph type="pic" sz="quarter" idx="16"/>
          </p:nvPr>
        </p:nvSpPr>
        <p:spPr>
          <a:xfrm>
            <a:off x="4821096" y="1449222"/>
            <a:ext cx="4832350" cy="3149600"/>
          </a:xfrm>
          <a:prstGeom prst="rect">
            <a:avLst/>
          </a:prstGeom>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4" name="Picture 3">
            <a:extLst>
              <a:ext uri="{FF2B5EF4-FFF2-40B4-BE49-F238E27FC236}">
                <a16:creationId xmlns:a16="http://schemas.microsoft.com/office/drawing/2014/main" id="{EAD8BBBD-0582-4748-BE6A-E63CE7F339A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5751" y="4705685"/>
            <a:ext cx="877226" cy="164479"/>
          </a:xfrm>
          <a:prstGeom prst="rect">
            <a:avLst/>
          </a:prstGeom>
        </p:spPr>
      </p:pic>
      <p:sp>
        <p:nvSpPr>
          <p:cNvPr id="2" name="Content Placeholder 2">
            <a:extLst>
              <a:ext uri="{FF2B5EF4-FFF2-40B4-BE49-F238E27FC236}">
                <a16:creationId xmlns:a16="http://schemas.microsoft.com/office/drawing/2014/main" id="{925D2F9C-BC6C-34BC-84CB-CE173C66A6A7}"/>
              </a:ext>
            </a:extLst>
          </p:cNvPr>
          <p:cNvSpPr>
            <a:spLocks noGrp="1"/>
          </p:cNvSpPr>
          <p:nvPr>
            <p:ph sz="quarter" idx="17"/>
          </p:nvPr>
        </p:nvSpPr>
        <p:spPr>
          <a:xfrm>
            <a:off x="285750" y="1233847"/>
            <a:ext cx="4037156"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9">
            <a:extLst>
              <a:ext uri="{FF2B5EF4-FFF2-40B4-BE49-F238E27FC236}">
                <a16:creationId xmlns:a16="http://schemas.microsoft.com/office/drawing/2014/main" id="{B28024AC-376B-D595-08EC-C74CAEB3D344}"/>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9" name="Rectangle 8">
            <a:extLst>
              <a:ext uri="{FF2B5EF4-FFF2-40B4-BE49-F238E27FC236}">
                <a16:creationId xmlns:a16="http://schemas.microsoft.com/office/drawing/2014/main" id="{3AA392A0-6C47-B347-5878-668F7DEE863E}"/>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4">
            <a:extLst>
              <a:ext uri="{FF2B5EF4-FFF2-40B4-BE49-F238E27FC236}">
                <a16:creationId xmlns:a16="http://schemas.microsoft.com/office/drawing/2014/main" id="{B0CC9908-F89E-40E2-7FEC-E86E2D36A586}"/>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5693404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roduct Slide (Phone Mockup)">
    <p:bg>
      <p:bgPr>
        <a:solidFill>
          <a:schemeClr val="bg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F6F67E37-A61E-7839-33CB-596EC478C37F}"/>
              </a:ext>
            </a:extLst>
          </p:cNvPr>
          <p:cNvSpPr>
            <a:spLocks noGrp="1"/>
          </p:cNvSpPr>
          <p:nvPr>
            <p:ph type="pic" sz="quarter" idx="16"/>
          </p:nvPr>
        </p:nvSpPr>
        <p:spPr>
          <a:xfrm>
            <a:off x="6162263" y="667910"/>
            <a:ext cx="1836751" cy="3784820"/>
          </a:xfrm>
          <a:prstGeom prst="roundRect">
            <a:avLst>
              <a:gd name="adj" fmla="val 8442"/>
            </a:avLst>
          </a:prstGeom>
          <a:solidFill>
            <a:schemeClr val="accent1"/>
          </a:solidFill>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6" name="Phone" descr="A black screen with a white border&#10;&#10;AI-generated content may be incorrect.">
            <a:extLst>
              <a:ext uri="{FF2B5EF4-FFF2-40B4-BE49-F238E27FC236}">
                <a16:creationId xmlns:a16="http://schemas.microsoft.com/office/drawing/2014/main" id="{E78A296C-F2BF-42F3-6F1C-1715C6B064C5}"/>
              </a:ext>
            </a:extLst>
          </p:cNvPr>
          <p:cNvPicPr>
            <a:picLocks noGrp="1" noRot="1" noChangeAspect="1" noMove="1" noResize="1" noEditPoints="1" noAdjustHandles="1" noChangeArrowheads="1" noChangeShapeType="1" noCrop="1"/>
          </p:cNvPicPr>
          <p:nvPr/>
        </p:nvPicPr>
        <p:blipFill>
          <a:blip r:embed="rId2" cstate="screen">
            <a:extLst>
              <a:ext uri="{28A0092B-C50C-407E-A947-70E740481C1C}">
                <a14:useLocalDpi xmlns:a14="http://schemas.microsoft.com/office/drawing/2010/main"/>
              </a:ext>
            </a:extLst>
          </a:blip>
          <a:stretch>
            <a:fillRect/>
          </a:stretch>
        </p:blipFill>
        <p:spPr>
          <a:xfrm>
            <a:off x="6076951" y="612199"/>
            <a:ext cx="1985726" cy="3919105"/>
          </a:xfrm>
          <a:prstGeom prst="rect">
            <a:avLst/>
          </a:prstGeom>
        </p:spPr>
      </p:pic>
      <p:pic>
        <p:nvPicPr>
          <p:cNvPr id="8" name="Picture 7" descr="A black screen with a white border&#10;&#10;AI-generated content may be incorrect.">
            <a:extLst>
              <a:ext uri="{FF2B5EF4-FFF2-40B4-BE49-F238E27FC236}">
                <a16:creationId xmlns:a16="http://schemas.microsoft.com/office/drawing/2014/main" id="{BB01BA73-AA09-76C7-03D1-9CAE02B3FA4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76951" y="-3451801"/>
            <a:ext cx="1985726" cy="3919105"/>
          </a:xfrm>
          <a:prstGeom prst="rect">
            <a:avLst/>
          </a:prstGeom>
        </p:spPr>
      </p:pic>
      <p:pic>
        <p:nvPicPr>
          <p:cNvPr id="9" name="Picture 8" descr="A black screen with a white border&#10;&#10;AI-generated content may be incorrect.">
            <a:extLst>
              <a:ext uri="{FF2B5EF4-FFF2-40B4-BE49-F238E27FC236}">
                <a16:creationId xmlns:a16="http://schemas.microsoft.com/office/drawing/2014/main" id="{6388D3D4-8A35-48FF-E901-41DB01B59A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76951" y="4676199"/>
            <a:ext cx="1985726" cy="3919105"/>
          </a:xfrm>
          <a:prstGeom prst="rect">
            <a:avLst/>
          </a:prstGeom>
        </p:spPr>
      </p:pic>
      <p:pic>
        <p:nvPicPr>
          <p:cNvPr id="12" name="Picture 11" descr="A black screen with a white border&#10;&#10;AI-generated content may be incorrect.">
            <a:extLst>
              <a:ext uri="{FF2B5EF4-FFF2-40B4-BE49-F238E27FC236}">
                <a16:creationId xmlns:a16="http://schemas.microsoft.com/office/drawing/2014/main" id="{5309C565-741B-2BA4-AA29-3209D8AD69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48651" y="2418197"/>
            <a:ext cx="1985726" cy="3919105"/>
          </a:xfrm>
          <a:prstGeom prst="rect">
            <a:avLst/>
          </a:prstGeom>
        </p:spPr>
      </p:pic>
      <p:pic>
        <p:nvPicPr>
          <p:cNvPr id="13" name="Picture 12" descr="A black screen with a white border&#10;&#10;AI-generated content may be incorrect.">
            <a:extLst>
              <a:ext uri="{FF2B5EF4-FFF2-40B4-BE49-F238E27FC236}">
                <a16:creationId xmlns:a16="http://schemas.microsoft.com/office/drawing/2014/main" id="{415EAF3E-1209-32C9-4CD9-D9C07A6F22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48651" y="-1645804"/>
            <a:ext cx="1985726" cy="3919105"/>
          </a:xfrm>
          <a:prstGeom prst="rect">
            <a:avLst/>
          </a:prstGeom>
        </p:spPr>
      </p:pic>
      <p:sp>
        <p:nvSpPr>
          <p:cNvPr id="18" name="Picture Placeholder 15">
            <a:extLst>
              <a:ext uri="{FF2B5EF4-FFF2-40B4-BE49-F238E27FC236}">
                <a16:creationId xmlns:a16="http://schemas.microsoft.com/office/drawing/2014/main" id="{A6B4F5CE-D6B1-EA8E-E533-1F5C759CA415}"/>
              </a:ext>
            </a:extLst>
          </p:cNvPr>
          <p:cNvSpPr>
            <a:spLocks noGrp="1"/>
          </p:cNvSpPr>
          <p:nvPr>
            <p:ph type="pic" sz="quarter" idx="17"/>
          </p:nvPr>
        </p:nvSpPr>
        <p:spPr>
          <a:xfrm>
            <a:off x="6162263" y="4733473"/>
            <a:ext cx="1836751" cy="3784820"/>
          </a:xfrm>
          <a:prstGeom prst="roundRect">
            <a:avLst>
              <a:gd name="adj" fmla="val 8442"/>
            </a:avLst>
          </a:prstGeom>
          <a:solidFill>
            <a:schemeClr val="accent1"/>
          </a:solidFill>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9" name="Picture Placeholder 15">
            <a:extLst>
              <a:ext uri="{FF2B5EF4-FFF2-40B4-BE49-F238E27FC236}">
                <a16:creationId xmlns:a16="http://schemas.microsoft.com/office/drawing/2014/main" id="{4704EBAC-3C69-CD70-84B9-6DD7BF4ADEAE}"/>
              </a:ext>
            </a:extLst>
          </p:cNvPr>
          <p:cNvSpPr>
            <a:spLocks noGrp="1"/>
          </p:cNvSpPr>
          <p:nvPr>
            <p:ph type="pic" sz="quarter" idx="18"/>
          </p:nvPr>
        </p:nvSpPr>
        <p:spPr>
          <a:xfrm>
            <a:off x="6162263" y="-3384661"/>
            <a:ext cx="1836751" cy="3784820"/>
          </a:xfrm>
          <a:prstGeom prst="roundRect">
            <a:avLst>
              <a:gd name="adj" fmla="val 8442"/>
            </a:avLst>
          </a:prstGeom>
          <a:solidFill>
            <a:schemeClr val="accent1"/>
          </a:solidFill>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21" name="Picture Placeholder 15">
            <a:extLst>
              <a:ext uri="{FF2B5EF4-FFF2-40B4-BE49-F238E27FC236}">
                <a16:creationId xmlns:a16="http://schemas.microsoft.com/office/drawing/2014/main" id="{03FFCE04-97BF-727A-71FD-8A1FDA5E12AD}"/>
              </a:ext>
            </a:extLst>
          </p:cNvPr>
          <p:cNvSpPr>
            <a:spLocks noGrp="1"/>
          </p:cNvSpPr>
          <p:nvPr>
            <p:ph type="pic" sz="quarter" idx="19"/>
          </p:nvPr>
        </p:nvSpPr>
        <p:spPr>
          <a:xfrm>
            <a:off x="8331091" y="-1578663"/>
            <a:ext cx="1836751" cy="3784820"/>
          </a:xfrm>
          <a:prstGeom prst="roundRect">
            <a:avLst>
              <a:gd name="adj" fmla="val 8442"/>
            </a:avLst>
          </a:prstGeom>
          <a:solidFill>
            <a:schemeClr val="accent1"/>
          </a:solidFill>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23" name="Picture Placeholder 15">
            <a:extLst>
              <a:ext uri="{FF2B5EF4-FFF2-40B4-BE49-F238E27FC236}">
                <a16:creationId xmlns:a16="http://schemas.microsoft.com/office/drawing/2014/main" id="{0C1367DC-CB59-0134-9FE1-3720835B81B9}"/>
              </a:ext>
            </a:extLst>
          </p:cNvPr>
          <p:cNvSpPr>
            <a:spLocks noGrp="1"/>
          </p:cNvSpPr>
          <p:nvPr>
            <p:ph type="pic" sz="quarter" idx="20"/>
          </p:nvPr>
        </p:nvSpPr>
        <p:spPr>
          <a:xfrm>
            <a:off x="8331091" y="2488012"/>
            <a:ext cx="1836751" cy="3784820"/>
          </a:xfrm>
          <a:prstGeom prst="roundRect">
            <a:avLst>
              <a:gd name="adj" fmla="val 8442"/>
            </a:avLst>
          </a:prstGeom>
          <a:solidFill>
            <a:schemeClr val="accent1"/>
          </a:solidFill>
          <a:ln w="3175">
            <a:solidFill>
              <a:schemeClr val="tx1"/>
            </a:solidFill>
          </a:ln>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7" name="Picture 6">
            <a:extLst>
              <a:ext uri="{FF2B5EF4-FFF2-40B4-BE49-F238E27FC236}">
                <a16:creationId xmlns:a16="http://schemas.microsoft.com/office/drawing/2014/main" id="{A7948A0C-8EFC-29BC-CD93-16FB223DAAE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5751" y="4705685"/>
            <a:ext cx="877226" cy="164479"/>
          </a:xfrm>
          <a:prstGeom prst="rect">
            <a:avLst/>
          </a:prstGeom>
        </p:spPr>
      </p:pic>
      <p:sp>
        <p:nvSpPr>
          <p:cNvPr id="3" name="Content Placeholder 2">
            <a:extLst>
              <a:ext uri="{FF2B5EF4-FFF2-40B4-BE49-F238E27FC236}">
                <a16:creationId xmlns:a16="http://schemas.microsoft.com/office/drawing/2014/main" id="{2879F5F3-5B40-BF53-C392-2277979A5DAA}"/>
              </a:ext>
            </a:extLst>
          </p:cNvPr>
          <p:cNvSpPr>
            <a:spLocks noGrp="1"/>
          </p:cNvSpPr>
          <p:nvPr>
            <p:ph sz="quarter" idx="21"/>
          </p:nvPr>
        </p:nvSpPr>
        <p:spPr>
          <a:xfrm>
            <a:off x="285750" y="1233847"/>
            <a:ext cx="4953000" cy="2903178"/>
          </a:xfrm>
          <a:prstGeom prst="rect">
            <a:avLst/>
          </a:prstGeom>
        </p:spPr>
        <p:txBody>
          <a:bodyPr lIns="0" tIns="0" rIns="0" bIns="0"/>
          <a:lstStyle>
            <a:lvl1pPr>
              <a:buClr>
                <a:schemeClr val="accent2"/>
              </a:buClr>
              <a:defRPr sz="1400" b="0"/>
            </a:lvl1pPr>
            <a:lvl2pPr>
              <a:buClr>
                <a:schemeClr val="accent2"/>
              </a:buCl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9">
            <a:extLst>
              <a:ext uri="{FF2B5EF4-FFF2-40B4-BE49-F238E27FC236}">
                <a16:creationId xmlns:a16="http://schemas.microsoft.com/office/drawing/2014/main" id="{FDB669BC-E59B-E4DB-21ED-D0A488045A4F}"/>
              </a:ext>
            </a:extLst>
          </p:cNvPr>
          <p:cNvSpPr>
            <a:spLocks noGrp="1"/>
          </p:cNvSpPr>
          <p:nvPr>
            <p:ph type="title" hasCustomPrompt="1"/>
          </p:nvPr>
        </p:nvSpPr>
        <p:spPr>
          <a:xfrm>
            <a:off x="285750" y="544678"/>
            <a:ext cx="4953000"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0" name="Rectangle 9">
            <a:extLst>
              <a:ext uri="{FF2B5EF4-FFF2-40B4-BE49-F238E27FC236}">
                <a16:creationId xmlns:a16="http://schemas.microsoft.com/office/drawing/2014/main" id="{EB4BBBD7-D710-C209-F800-FE5155E09508}"/>
              </a:ext>
            </a:extLst>
          </p:cNvPr>
          <p:cNvSpPr/>
          <p:nvPr/>
        </p:nvSpPr>
        <p:spPr>
          <a:xfrm>
            <a:off x="0" y="4986473"/>
            <a:ext cx="6080125" cy="16447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4">
            <a:extLst>
              <a:ext uri="{FF2B5EF4-FFF2-40B4-BE49-F238E27FC236}">
                <a16:creationId xmlns:a16="http://schemas.microsoft.com/office/drawing/2014/main" id="{729B2E9E-2783-9C71-C764-29719B9C6D49}"/>
              </a:ext>
            </a:extLst>
          </p:cNvPr>
          <p:cNvSpPr>
            <a:spLocks noGrp="1"/>
          </p:cNvSpPr>
          <p:nvPr>
            <p:ph type="body" sz="quarter" idx="11" hasCustomPrompt="1"/>
          </p:nvPr>
        </p:nvSpPr>
        <p:spPr>
          <a:xfrm>
            <a:off x="285749" y="320647"/>
            <a:ext cx="495458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268551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with Photo)">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E92B521-F1EE-E414-D386-B9D91182DDED}"/>
              </a:ext>
            </a:extLst>
          </p:cNvPr>
          <p:cNvSpPr>
            <a:spLocks noGrp="1"/>
          </p:cNvSpPr>
          <p:nvPr>
            <p:ph type="pic" sz="quarter" idx="12"/>
          </p:nvPr>
        </p:nvSpPr>
        <p:spPr>
          <a:xfrm>
            <a:off x="5353050" y="0"/>
            <a:ext cx="379095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12" name="Text Placeholder 4">
            <a:extLst>
              <a:ext uri="{FF2B5EF4-FFF2-40B4-BE49-F238E27FC236}">
                <a16:creationId xmlns:a16="http://schemas.microsoft.com/office/drawing/2014/main" id="{BE1D655A-602D-7E4B-5CA1-502BA9822153}"/>
              </a:ext>
            </a:extLst>
          </p:cNvPr>
          <p:cNvSpPr>
            <a:spLocks noGrp="1"/>
          </p:cNvSpPr>
          <p:nvPr>
            <p:ph type="body" sz="quarter" idx="13" hasCustomPrompt="1"/>
          </p:nvPr>
        </p:nvSpPr>
        <p:spPr>
          <a:xfrm>
            <a:off x="285750" y="745711"/>
            <a:ext cx="4229100" cy="1333500"/>
          </a:xfrm>
          <a:prstGeom prst="rect">
            <a:avLst/>
          </a:prstGeom>
        </p:spPr>
        <p:txBody>
          <a:bodyPr lIns="0" tIns="0" rIns="0" bIns="0"/>
          <a:lstStyle>
            <a:lvl1pPr marL="0" indent="0">
              <a:buNone/>
              <a:defRPr sz="4800" b="1" i="0">
                <a:solidFill>
                  <a:schemeClr val="bg1"/>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Mission &amp; Vision</a:t>
            </a:r>
          </a:p>
        </p:txBody>
      </p:sp>
      <p:sp>
        <p:nvSpPr>
          <p:cNvPr id="3" name="Text Placeholder 8">
            <a:extLst>
              <a:ext uri="{FF2B5EF4-FFF2-40B4-BE49-F238E27FC236}">
                <a16:creationId xmlns:a16="http://schemas.microsoft.com/office/drawing/2014/main" id="{0B487101-F1CE-FA96-718C-27793B120399}"/>
              </a:ext>
            </a:extLst>
          </p:cNvPr>
          <p:cNvSpPr>
            <a:spLocks noGrp="1"/>
          </p:cNvSpPr>
          <p:nvPr>
            <p:ph type="body" sz="quarter" idx="15"/>
          </p:nvPr>
        </p:nvSpPr>
        <p:spPr>
          <a:xfrm>
            <a:off x="7985126"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0">
                <a:latin typeface="Arial" panose="020B0604020202020204" pitchFamily="34" charset="0"/>
                <a:cs typeface="Arial" panose="020B0604020202020204" pitchFamily="34" charset="0"/>
              </a:defRPr>
            </a:lvl1pPr>
          </a:lstStyle>
          <a:p>
            <a:pPr lvl="0"/>
            <a:r>
              <a:rPr lang="en-US"/>
              <a:t>Click to edit Master text styles</a:t>
            </a:r>
          </a:p>
        </p:txBody>
      </p:sp>
      <p:sp>
        <p:nvSpPr>
          <p:cNvPr id="4" name="Text Placeholder 4">
            <a:extLst>
              <a:ext uri="{FF2B5EF4-FFF2-40B4-BE49-F238E27FC236}">
                <a16:creationId xmlns:a16="http://schemas.microsoft.com/office/drawing/2014/main" id="{C4798891-675C-4B39-0C19-24F87FAAEB47}"/>
              </a:ext>
            </a:extLst>
          </p:cNvPr>
          <p:cNvSpPr>
            <a:spLocks noGrp="1"/>
          </p:cNvSpPr>
          <p:nvPr>
            <p:ph type="body" sz="quarter" idx="11" hasCustomPrompt="1"/>
          </p:nvPr>
        </p:nvSpPr>
        <p:spPr>
          <a:xfrm>
            <a:off x="285749" y="320647"/>
            <a:ext cx="4229101" cy="171450"/>
          </a:xfrm>
          <a:prstGeom prst="rect">
            <a:avLst/>
          </a:prstGeom>
        </p:spPr>
        <p:txBody>
          <a:bodyPr lIns="0" tIns="0" rIns="0" bIns="0" anchor="b" anchorCtr="0"/>
          <a:lstStyle>
            <a:lvl1pPr marL="0" indent="0">
              <a:buNone/>
              <a:defRPr sz="1000" b="0" i="0" cap="all" spc="150" baseline="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596472994"/>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with Photo (no titl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E92B521-F1EE-E414-D386-B9D91182DDED}"/>
              </a:ext>
            </a:extLst>
          </p:cNvPr>
          <p:cNvSpPr>
            <a:spLocks noGrp="1"/>
          </p:cNvSpPr>
          <p:nvPr>
            <p:ph type="pic" sz="quarter" idx="12"/>
          </p:nvPr>
        </p:nvSpPr>
        <p:spPr>
          <a:xfrm>
            <a:off x="-10159" y="0"/>
            <a:ext cx="503936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12" name="Text Placeholder 4">
            <a:extLst>
              <a:ext uri="{FF2B5EF4-FFF2-40B4-BE49-F238E27FC236}">
                <a16:creationId xmlns:a16="http://schemas.microsoft.com/office/drawing/2014/main" id="{BE1D655A-602D-7E4B-5CA1-502BA9822153}"/>
              </a:ext>
            </a:extLst>
          </p:cNvPr>
          <p:cNvSpPr>
            <a:spLocks noGrp="1"/>
          </p:cNvSpPr>
          <p:nvPr>
            <p:ph type="body" sz="quarter" idx="13" hasCustomPrompt="1"/>
          </p:nvPr>
        </p:nvSpPr>
        <p:spPr>
          <a:xfrm>
            <a:off x="5363211" y="457200"/>
            <a:ext cx="3495040" cy="2114550"/>
          </a:xfrm>
          <a:prstGeom prst="rect">
            <a:avLst/>
          </a:prstGeom>
        </p:spPr>
        <p:txBody>
          <a:bodyPr lIns="0" tIns="0" rIns="0" bIns="0"/>
          <a:lstStyle>
            <a:lvl1pPr marL="0" indent="0">
              <a:buNone/>
              <a:defRPr sz="2400" b="0" i="0">
                <a:solidFill>
                  <a:schemeClr val="bg1"/>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 name="Text Placeholder 19">
            <a:extLst>
              <a:ext uri="{FF2B5EF4-FFF2-40B4-BE49-F238E27FC236}">
                <a16:creationId xmlns:a16="http://schemas.microsoft.com/office/drawing/2014/main" id="{A9965539-ABDD-F941-9611-001957D6B406}"/>
              </a:ext>
            </a:extLst>
          </p:cNvPr>
          <p:cNvSpPr>
            <a:spLocks noGrp="1"/>
          </p:cNvSpPr>
          <p:nvPr>
            <p:ph type="body" sz="quarter" idx="14" hasCustomPrompt="1"/>
          </p:nvPr>
        </p:nvSpPr>
        <p:spPr>
          <a:xfrm>
            <a:off x="5363211" y="2759993"/>
            <a:ext cx="3495040" cy="1499033"/>
          </a:xfrm>
          <a:prstGeom prst="rect">
            <a:avLst/>
          </a:prstGeom>
        </p:spPr>
        <p:txBody>
          <a:bodyPr lIns="0" tIns="0" rIns="0" bIns="0"/>
          <a:lstStyle>
            <a:lvl1pPr marL="0" indent="0">
              <a:buNone/>
              <a:defRPr sz="1400">
                <a:solidFill>
                  <a:schemeClr val="bg1"/>
                </a:solidFill>
                <a:latin typeface="Arial" panose="020B0604020202020204" pitchFamily="34" charset="0"/>
                <a:cs typeface="Arial" panose="020B0604020202020204" pitchFamily="34" charset="0"/>
              </a:defRPr>
            </a:lvl1pPr>
          </a:lstStyle>
          <a:p>
            <a:pPr lvl="0"/>
            <a:r>
              <a:rPr lang="en-US"/>
              <a:t>Body text</a:t>
            </a:r>
          </a:p>
        </p:txBody>
      </p:sp>
      <p:pic>
        <p:nvPicPr>
          <p:cNvPr id="3" name="Picture 2" descr="A white letter on a black background&#10;&#10;AI-generated content may be incorrect.">
            <a:extLst>
              <a:ext uri="{FF2B5EF4-FFF2-40B4-BE49-F238E27FC236}">
                <a16:creationId xmlns:a16="http://schemas.microsoft.com/office/drawing/2014/main" id="{80A45D1D-511E-C8AA-1892-15374978AFA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19936222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with Photo (no title)_2">
    <p:bg>
      <p:bgPr>
        <a:solidFill>
          <a:schemeClr val="tx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E1D655A-602D-7E4B-5CA1-502BA9822153}"/>
              </a:ext>
            </a:extLst>
          </p:cNvPr>
          <p:cNvSpPr>
            <a:spLocks noGrp="1"/>
          </p:cNvSpPr>
          <p:nvPr>
            <p:ph type="body" sz="quarter" idx="13" hasCustomPrompt="1"/>
          </p:nvPr>
        </p:nvSpPr>
        <p:spPr>
          <a:xfrm>
            <a:off x="294640" y="457200"/>
            <a:ext cx="3310408" cy="2171700"/>
          </a:xfrm>
          <a:prstGeom prst="rect">
            <a:avLst/>
          </a:prstGeom>
        </p:spPr>
        <p:txBody>
          <a:bodyPr lIns="0" tIns="0" rIns="0" bIns="0"/>
          <a:lstStyle>
            <a:lvl1pPr marL="0" indent="0">
              <a:buNone/>
              <a:defRPr sz="2400" b="0" i="0">
                <a:solidFill>
                  <a:schemeClr val="bg1"/>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 name="Picture Placeholder 5">
            <a:extLst>
              <a:ext uri="{FF2B5EF4-FFF2-40B4-BE49-F238E27FC236}">
                <a16:creationId xmlns:a16="http://schemas.microsoft.com/office/drawing/2014/main" id="{E7216EC2-2697-050E-C41E-9ACDE9E40106}"/>
              </a:ext>
            </a:extLst>
          </p:cNvPr>
          <p:cNvSpPr>
            <a:spLocks noGrp="1"/>
          </p:cNvSpPr>
          <p:nvPr>
            <p:ph type="pic" sz="quarter" idx="12"/>
          </p:nvPr>
        </p:nvSpPr>
        <p:spPr>
          <a:xfrm>
            <a:off x="3905250" y="0"/>
            <a:ext cx="523875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3" name="Text Placeholder 19">
            <a:extLst>
              <a:ext uri="{FF2B5EF4-FFF2-40B4-BE49-F238E27FC236}">
                <a16:creationId xmlns:a16="http://schemas.microsoft.com/office/drawing/2014/main" id="{191B2120-9BC0-70CB-AC6A-9A6C9B00F48B}"/>
              </a:ext>
            </a:extLst>
          </p:cNvPr>
          <p:cNvSpPr>
            <a:spLocks noGrp="1"/>
          </p:cNvSpPr>
          <p:nvPr>
            <p:ph type="body" sz="quarter" idx="14" hasCustomPrompt="1"/>
          </p:nvPr>
        </p:nvSpPr>
        <p:spPr>
          <a:xfrm>
            <a:off x="294640" y="2753139"/>
            <a:ext cx="3310408" cy="1814513"/>
          </a:xfrm>
          <a:prstGeom prst="rect">
            <a:avLst/>
          </a:prstGeom>
        </p:spPr>
        <p:txBody>
          <a:bodyPr lIns="0" tIns="0" rIns="0" bIns="0"/>
          <a:lstStyle>
            <a:lvl1pPr marL="0" indent="0">
              <a:buNone/>
              <a:defRPr sz="1400">
                <a:solidFill>
                  <a:schemeClr val="bg1"/>
                </a:solidFill>
                <a:latin typeface="Arial" panose="020B0604020202020204" pitchFamily="34" charset="0"/>
                <a:cs typeface="Arial" panose="020B0604020202020204" pitchFamily="34" charset="0"/>
              </a:defRPr>
            </a:lvl1pPr>
          </a:lstStyle>
          <a:p>
            <a:pPr lvl="0"/>
            <a:r>
              <a:rPr lang="en-US"/>
              <a:t>Body text</a:t>
            </a:r>
          </a:p>
        </p:txBody>
      </p:sp>
      <p:sp>
        <p:nvSpPr>
          <p:cNvPr id="5" name="Text Placeholder 8">
            <a:extLst>
              <a:ext uri="{FF2B5EF4-FFF2-40B4-BE49-F238E27FC236}">
                <a16:creationId xmlns:a16="http://schemas.microsoft.com/office/drawing/2014/main" id="{5AD902CA-68B2-AFC1-B92A-77457B932100}"/>
              </a:ext>
            </a:extLst>
          </p:cNvPr>
          <p:cNvSpPr>
            <a:spLocks noGrp="1"/>
          </p:cNvSpPr>
          <p:nvPr>
            <p:ph type="body" sz="quarter" idx="15"/>
          </p:nvPr>
        </p:nvSpPr>
        <p:spPr>
          <a:xfrm>
            <a:off x="7985126"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0">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85564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with Photo(dark)">
    <p:bg>
      <p:bgPr>
        <a:solidFill>
          <a:schemeClr val="tx2"/>
        </a:solidFill>
        <a:effectLst/>
      </p:bgPr>
    </p:bg>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39373DBC-ABE1-E4EF-3BBD-778944B27942}"/>
              </a:ext>
            </a:extLst>
          </p:cNvPr>
          <p:cNvSpPr>
            <a:spLocks noGrp="1"/>
          </p:cNvSpPr>
          <p:nvPr>
            <p:ph type="body" sz="quarter" idx="13" hasCustomPrompt="1"/>
          </p:nvPr>
        </p:nvSpPr>
        <p:spPr>
          <a:xfrm>
            <a:off x="285750" y="555633"/>
            <a:ext cx="3321050" cy="677856"/>
          </a:xfrm>
          <a:prstGeom prst="rect">
            <a:avLst/>
          </a:prstGeom>
        </p:spPr>
        <p:txBody>
          <a:bodyPr lIns="0" tIns="0" rIns="0" bIns="0" anchor="t" anchorCtr="0"/>
          <a:lstStyle>
            <a:lvl1pPr marL="0" indent="0">
              <a:buNone/>
              <a:defRPr sz="2400" b="1" i="0">
                <a:solidFill>
                  <a:schemeClr val="bg1"/>
                </a:solidFill>
                <a:latin typeface="Arial" panose="020B0604020202020204" pitchFamily="34" charset="0"/>
                <a:cs typeface="Arial" panose="020B0604020202020204" pitchFamily="34" charset="0"/>
              </a:defRPr>
            </a:lvl1pPr>
            <a:lvl2pPr>
              <a:defRPr sz="3000" b="1" i="0">
                <a:latin typeface="Manrope SemiBold" pitchFamily="2" charset="0"/>
              </a:defRPr>
            </a:lvl2pPr>
            <a:lvl3pPr>
              <a:defRPr sz="3000" b="1" i="0">
                <a:latin typeface="Manrope SemiBold" pitchFamily="2" charset="0"/>
              </a:defRPr>
            </a:lvl3pPr>
            <a:lvl4pPr>
              <a:defRPr sz="3000" b="1" i="0">
                <a:latin typeface="Manrope SemiBold" pitchFamily="2" charset="0"/>
              </a:defRPr>
            </a:lvl4pPr>
            <a:lvl5pPr>
              <a:defRPr sz="3000" b="1" i="0">
                <a:latin typeface="Manrope SemiBold" pitchFamily="2" charset="0"/>
              </a:defRPr>
            </a:lvl5pPr>
          </a:lstStyle>
          <a:p>
            <a:pPr lvl="0"/>
            <a:r>
              <a:rPr lang="en-US"/>
              <a:t>Slide title here, two lines</a:t>
            </a:r>
          </a:p>
        </p:txBody>
      </p:sp>
      <p:sp>
        <p:nvSpPr>
          <p:cNvPr id="7" name="Text Placeholder 19">
            <a:extLst>
              <a:ext uri="{FF2B5EF4-FFF2-40B4-BE49-F238E27FC236}">
                <a16:creationId xmlns:a16="http://schemas.microsoft.com/office/drawing/2014/main" id="{C12D735E-5703-EA8D-3189-E93CFBDAEF6A}"/>
              </a:ext>
            </a:extLst>
          </p:cNvPr>
          <p:cNvSpPr>
            <a:spLocks noGrp="1"/>
          </p:cNvSpPr>
          <p:nvPr>
            <p:ph type="body" sz="quarter" idx="14" hasCustomPrompt="1"/>
          </p:nvPr>
        </p:nvSpPr>
        <p:spPr>
          <a:xfrm>
            <a:off x="294640" y="1622425"/>
            <a:ext cx="3310408" cy="2300287"/>
          </a:xfrm>
          <a:prstGeom prst="rect">
            <a:avLst/>
          </a:prstGeom>
        </p:spPr>
        <p:txBody>
          <a:bodyPr lIns="0" tIns="0" rIns="0" bIns="0"/>
          <a:lstStyle>
            <a:lvl1pPr marL="0" indent="0">
              <a:buNone/>
              <a:defRPr sz="1400">
                <a:solidFill>
                  <a:schemeClr val="bg1"/>
                </a:solidFill>
                <a:latin typeface="Arial" panose="020B0604020202020204" pitchFamily="34" charset="0"/>
                <a:cs typeface="Arial" panose="020B0604020202020204" pitchFamily="34" charset="0"/>
              </a:defRPr>
            </a:lvl1pPr>
          </a:lstStyle>
          <a:p>
            <a:pPr lvl="0"/>
            <a:r>
              <a:rPr lang="en-US"/>
              <a:t>Body text</a:t>
            </a:r>
          </a:p>
        </p:txBody>
      </p:sp>
      <p:sp>
        <p:nvSpPr>
          <p:cNvPr id="6" name="Content Placeholder 5">
            <a:extLst>
              <a:ext uri="{FF2B5EF4-FFF2-40B4-BE49-F238E27FC236}">
                <a16:creationId xmlns:a16="http://schemas.microsoft.com/office/drawing/2014/main" id="{7973D1FA-BDEC-B276-C2F0-59EDF72653D7}"/>
              </a:ext>
            </a:extLst>
          </p:cNvPr>
          <p:cNvSpPr>
            <a:spLocks noGrp="1"/>
          </p:cNvSpPr>
          <p:nvPr>
            <p:ph sz="quarter" idx="15"/>
          </p:nvPr>
        </p:nvSpPr>
        <p:spPr>
          <a:xfrm>
            <a:off x="3912014" y="0"/>
            <a:ext cx="5241925" cy="5143500"/>
          </a:xfrm>
          <a:prstGeom prst="rect">
            <a:avLst/>
          </a:prstGeom>
          <a:solidFill>
            <a:schemeClr val="accent1"/>
          </a:solidFill>
        </p:spPr>
        <p:txBody>
          <a:bodyPr/>
          <a:lstStyle/>
          <a:p>
            <a:pPr lvl="0"/>
            <a:r>
              <a:rPr lang="en-US"/>
              <a:t>Click to edit Master text styles</a:t>
            </a:r>
          </a:p>
        </p:txBody>
      </p:sp>
      <p:sp>
        <p:nvSpPr>
          <p:cNvPr id="8" name="Text Placeholder 4">
            <a:extLst>
              <a:ext uri="{FF2B5EF4-FFF2-40B4-BE49-F238E27FC236}">
                <a16:creationId xmlns:a16="http://schemas.microsoft.com/office/drawing/2014/main" id="{371B5EED-5CF3-B825-9959-2F603165A3D1}"/>
              </a:ext>
            </a:extLst>
          </p:cNvPr>
          <p:cNvSpPr>
            <a:spLocks noGrp="1"/>
          </p:cNvSpPr>
          <p:nvPr>
            <p:ph type="body" sz="quarter" idx="11" hasCustomPrompt="1"/>
          </p:nvPr>
        </p:nvSpPr>
        <p:spPr>
          <a:xfrm>
            <a:off x="285749" y="320647"/>
            <a:ext cx="3319299" cy="171450"/>
          </a:xfrm>
          <a:prstGeom prst="rect">
            <a:avLst/>
          </a:prstGeom>
        </p:spPr>
        <p:txBody>
          <a:bodyPr lIns="0" tIns="0" rIns="0" bIns="0" anchor="b" anchorCtr="0"/>
          <a:lstStyle>
            <a:lvl1pPr marL="0" indent="0">
              <a:buNone/>
              <a:defRPr sz="1000" b="0" i="0" cap="all" spc="150" baseline="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175393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Our Team">
    <p:bg>
      <p:bgPr>
        <a:solidFill>
          <a:schemeClr val="bg2"/>
        </a:solidFill>
        <a:effectLst/>
      </p:bgPr>
    </p:bg>
    <p:spTree>
      <p:nvGrpSpPr>
        <p:cNvPr id="1" name=""/>
        <p:cNvGrpSpPr/>
        <p:nvPr/>
      </p:nvGrpSpPr>
      <p:grpSpPr>
        <a:xfrm>
          <a:off x="0" y="0"/>
          <a:ext cx="0" cy="0"/>
          <a:chOff x="0" y="0"/>
          <a:chExt cx="0" cy="0"/>
        </a:xfrm>
      </p:grpSpPr>
      <p:sp>
        <p:nvSpPr>
          <p:cNvPr id="35" name="Rounded Rectangle 34">
            <a:extLst>
              <a:ext uri="{FF2B5EF4-FFF2-40B4-BE49-F238E27FC236}">
                <a16:creationId xmlns:a16="http://schemas.microsoft.com/office/drawing/2014/main" id="{079490E7-F33B-8EEB-6DF4-9B86D2E639C9}"/>
              </a:ext>
            </a:extLst>
          </p:cNvPr>
          <p:cNvSpPr/>
          <p:nvPr/>
        </p:nvSpPr>
        <p:spPr>
          <a:xfrm>
            <a:off x="942976" y="1254920"/>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0" name="Picture Placeholder 9">
            <a:extLst>
              <a:ext uri="{FF2B5EF4-FFF2-40B4-BE49-F238E27FC236}">
                <a16:creationId xmlns:a16="http://schemas.microsoft.com/office/drawing/2014/main" id="{1450B2D3-DFB7-ADBF-CD0B-2494D498F877}"/>
              </a:ext>
            </a:extLst>
          </p:cNvPr>
          <p:cNvSpPr>
            <a:spLocks noGrp="1"/>
          </p:cNvSpPr>
          <p:nvPr>
            <p:ph type="pic" sz="quarter" idx="14" hasCustomPrompt="1"/>
          </p:nvPr>
        </p:nvSpPr>
        <p:spPr>
          <a:xfrm>
            <a:off x="285751" y="1254919"/>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37" name="Text Placeholder 32">
            <a:extLst>
              <a:ext uri="{FF2B5EF4-FFF2-40B4-BE49-F238E27FC236}">
                <a16:creationId xmlns:a16="http://schemas.microsoft.com/office/drawing/2014/main" id="{17A77E82-F44F-C446-C094-953B2FB706E3}"/>
              </a:ext>
            </a:extLst>
          </p:cNvPr>
          <p:cNvSpPr>
            <a:spLocks noGrp="1"/>
          </p:cNvSpPr>
          <p:nvPr>
            <p:ph type="body" sz="quarter" idx="40" hasCustomPrompt="1"/>
          </p:nvPr>
        </p:nvSpPr>
        <p:spPr>
          <a:xfrm>
            <a:off x="1739901" y="1632757"/>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40" name="Rounded Rectangle 39">
            <a:extLst>
              <a:ext uri="{FF2B5EF4-FFF2-40B4-BE49-F238E27FC236}">
                <a16:creationId xmlns:a16="http://schemas.microsoft.com/office/drawing/2014/main" id="{54F5D8DF-02E2-B146-75D8-FBD6DEA5077A}"/>
              </a:ext>
            </a:extLst>
          </p:cNvPr>
          <p:cNvSpPr/>
          <p:nvPr/>
        </p:nvSpPr>
        <p:spPr>
          <a:xfrm>
            <a:off x="942976" y="2339442"/>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41" name="Picture Placeholder 9">
            <a:extLst>
              <a:ext uri="{FF2B5EF4-FFF2-40B4-BE49-F238E27FC236}">
                <a16:creationId xmlns:a16="http://schemas.microsoft.com/office/drawing/2014/main" id="{48102879-9FA5-30ED-9096-43686370B3D2}"/>
              </a:ext>
            </a:extLst>
          </p:cNvPr>
          <p:cNvSpPr>
            <a:spLocks noGrp="1"/>
          </p:cNvSpPr>
          <p:nvPr>
            <p:ph type="pic" sz="quarter" idx="41" hasCustomPrompt="1"/>
          </p:nvPr>
        </p:nvSpPr>
        <p:spPr>
          <a:xfrm>
            <a:off x="285751" y="2339440"/>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42" name="Text Placeholder 32">
            <a:extLst>
              <a:ext uri="{FF2B5EF4-FFF2-40B4-BE49-F238E27FC236}">
                <a16:creationId xmlns:a16="http://schemas.microsoft.com/office/drawing/2014/main" id="{8A9201CD-BC63-B384-C94A-E4B413D4C6B7}"/>
              </a:ext>
            </a:extLst>
          </p:cNvPr>
          <p:cNvSpPr>
            <a:spLocks noGrp="1"/>
          </p:cNvSpPr>
          <p:nvPr>
            <p:ph type="body" sz="quarter" idx="42" hasCustomPrompt="1"/>
          </p:nvPr>
        </p:nvSpPr>
        <p:spPr>
          <a:xfrm>
            <a:off x="1739901" y="2432142"/>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43" name="Text Placeholder 32">
            <a:extLst>
              <a:ext uri="{FF2B5EF4-FFF2-40B4-BE49-F238E27FC236}">
                <a16:creationId xmlns:a16="http://schemas.microsoft.com/office/drawing/2014/main" id="{9E1E27B5-EF8C-58B2-E5F8-20EBC92E4C0F}"/>
              </a:ext>
            </a:extLst>
          </p:cNvPr>
          <p:cNvSpPr>
            <a:spLocks noGrp="1"/>
          </p:cNvSpPr>
          <p:nvPr>
            <p:ph type="body" sz="quarter" idx="43" hasCustomPrompt="1"/>
          </p:nvPr>
        </p:nvSpPr>
        <p:spPr>
          <a:xfrm>
            <a:off x="1739901" y="2717278"/>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44" name="Rounded Rectangle 43">
            <a:extLst>
              <a:ext uri="{FF2B5EF4-FFF2-40B4-BE49-F238E27FC236}">
                <a16:creationId xmlns:a16="http://schemas.microsoft.com/office/drawing/2014/main" id="{8C16587D-0DCF-8C26-251F-FF6562653258}"/>
              </a:ext>
            </a:extLst>
          </p:cNvPr>
          <p:cNvSpPr/>
          <p:nvPr/>
        </p:nvSpPr>
        <p:spPr>
          <a:xfrm>
            <a:off x="942976" y="3423963"/>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45" name="Picture Placeholder 9">
            <a:extLst>
              <a:ext uri="{FF2B5EF4-FFF2-40B4-BE49-F238E27FC236}">
                <a16:creationId xmlns:a16="http://schemas.microsoft.com/office/drawing/2014/main" id="{0AEBE3B0-7FD3-90EC-E1BE-3319A0A74C43}"/>
              </a:ext>
            </a:extLst>
          </p:cNvPr>
          <p:cNvSpPr>
            <a:spLocks noGrp="1"/>
          </p:cNvSpPr>
          <p:nvPr>
            <p:ph type="pic" sz="quarter" idx="44" hasCustomPrompt="1"/>
          </p:nvPr>
        </p:nvSpPr>
        <p:spPr>
          <a:xfrm>
            <a:off x="285751" y="3423961"/>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46" name="Text Placeholder 32">
            <a:extLst>
              <a:ext uri="{FF2B5EF4-FFF2-40B4-BE49-F238E27FC236}">
                <a16:creationId xmlns:a16="http://schemas.microsoft.com/office/drawing/2014/main" id="{05768C52-1FBF-9682-5837-0514EABDD709}"/>
              </a:ext>
            </a:extLst>
          </p:cNvPr>
          <p:cNvSpPr>
            <a:spLocks noGrp="1"/>
          </p:cNvSpPr>
          <p:nvPr>
            <p:ph type="body" sz="quarter" idx="45" hasCustomPrompt="1"/>
          </p:nvPr>
        </p:nvSpPr>
        <p:spPr>
          <a:xfrm>
            <a:off x="1739901" y="3516663"/>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47" name="Text Placeholder 32">
            <a:extLst>
              <a:ext uri="{FF2B5EF4-FFF2-40B4-BE49-F238E27FC236}">
                <a16:creationId xmlns:a16="http://schemas.microsoft.com/office/drawing/2014/main" id="{EDA81D81-2E1D-BC6B-2A8F-F97BF54D97BD}"/>
              </a:ext>
            </a:extLst>
          </p:cNvPr>
          <p:cNvSpPr>
            <a:spLocks noGrp="1"/>
          </p:cNvSpPr>
          <p:nvPr>
            <p:ph type="body" sz="quarter" idx="46" hasCustomPrompt="1"/>
          </p:nvPr>
        </p:nvSpPr>
        <p:spPr>
          <a:xfrm>
            <a:off x="1739901" y="3801799"/>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62" name="Text Placeholder 32">
            <a:extLst>
              <a:ext uri="{FF2B5EF4-FFF2-40B4-BE49-F238E27FC236}">
                <a16:creationId xmlns:a16="http://schemas.microsoft.com/office/drawing/2014/main" id="{612FB9CA-EFF6-C5BA-9F77-6AF7B9A58D39}"/>
              </a:ext>
            </a:extLst>
          </p:cNvPr>
          <p:cNvSpPr>
            <a:spLocks noGrp="1"/>
          </p:cNvSpPr>
          <p:nvPr>
            <p:ph type="body" sz="quarter" idx="56" hasCustomPrompt="1"/>
          </p:nvPr>
        </p:nvSpPr>
        <p:spPr>
          <a:xfrm>
            <a:off x="1739901" y="1349929"/>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70" name="Vertical Text Placeholder 69">
            <a:extLst>
              <a:ext uri="{FF2B5EF4-FFF2-40B4-BE49-F238E27FC236}">
                <a16:creationId xmlns:a16="http://schemas.microsoft.com/office/drawing/2014/main" id="{FBCDF48A-85B3-4028-8D26-046BA2B7CE4B}"/>
              </a:ext>
            </a:extLst>
          </p:cNvPr>
          <p:cNvSpPr>
            <a:spLocks noGrp="1"/>
          </p:cNvSpPr>
          <p:nvPr>
            <p:ph type="body" orient="vert" sz="quarter" idx="57"/>
          </p:nvPr>
        </p:nvSpPr>
        <p:spPr>
          <a:xfrm>
            <a:off x="1352551" y="1254920"/>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Vertical Text Placeholder 69">
            <a:extLst>
              <a:ext uri="{FF2B5EF4-FFF2-40B4-BE49-F238E27FC236}">
                <a16:creationId xmlns:a16="http://schemas.microsoft.com/office/drawing/2014/main" id="{7C6914F1-39E6-6026-4799-8863E71BD444}"/>
              </a:ext>
            </a:extLst>
          </p:cNvPr>
          <p:cNvSpPr>
            <a:spLocks noGrp="1"/>
          </p:cNvSpPr>
          <p:nvPr>
            <p:ph type="body" orient="vert" sz="quarter" idx="58"/>
          </p:nvPr>
        </p:nvSpPr>
        <p:spPr>
          <a:xfrm>
            <a:off x="1352551" y="2337595"/>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sp>
        <p:nvSpPr>
          <p:cNvPr id="72" name="Vertical Text Placeholder 69">
            <a:extLst>
              <a:ext uri="{FF2B5EF4-FFF2-40B4-BE49-F238E27FC236}">
                <a16:creationId xmlns:a16="http://schemas.microsoft.com/office/drawing/2014/main" id="{A6A25704-D700-AA32-F9B6-2DBAD534EDCF}"/>
              </a:ext>
            </a:extLst>
          </p:cNvPr>
          <p:cNvSpPr>
            <a:spLocks noGrp="1"/>
          </p:cNvSpPr>
          <p:nvPr>
            <p:ph type="body" orient="vert" sz="quarter" idx="59"/>
          </p:nvPr>
        </p:nvSpPr>
        <p:spPr>
          <a:xfrm>
            <a:off x="1352551" y="3423445"/>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Rounded Rectangle 75">
            <a:extLst>
              <a:ext uri="{FF2B5EF4-FFF2-40B4-BE49-F238E27FC236}">
                <a16:creationId xmlns:a16="http://schemas.microsoft.com/office/drawing/2014/main" id="{438D6F90-5EC6-78CC-541B-8776CA2CF0DE}"/>
              </a:ext>
            </a:extLst>
          </p:cNvPr>
          <p:cNvSpPr/>
          <p:nvPr/>
        </p:nvSpPr>
        <p:spPr>
          <a:xfrm>
            <a:off x="5286376" y="1254920"/>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77" name="Picture Placeholder 9">
            <a:extLst>
              <a:ext uri="{FF2B5EF4-FFF2-40B4-BE49-F238E27FC236}">
                <a16:creationId xmlns:a16="http://schemas.microsoft.com/office/drawing/2014/main" id="{94C7C351-5013-0D36-275B-B09F7F90B215}"/>
              </a:ext>
            </a:extLst>
          </p:cNvPr>
          <p:cNvSpPr>
            <a:spLocks noGrp="1"/>
          </p:cNvSpPr>
          <p:nvPr>
            <p:ph type="pic" sz="quarter" idx="60" hasCustomPrompt="1"/>
          </p:nvPr>
        </p:nvSpPr>
        <p:spPr>
          <a:xfrm>
            <a:off x="4629151" y="1254919"/>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78" name="Text Placeholder 32">
            <a:extLst>
              <a:ext uri="{FF2B5EF4-FFF2-40B4-BE49-F238E27FC236}">
                <a16:creationId xmlns:a16="http://schemas.microsoft.com/office/drawing/2014/main" id="{5B6005DC-8576-4BBD-37CF-468513D029A0}"/>
              </a:ext>
            </a:extLst>
          </p:cNvPr>
          <p:cNvSpPr>
            <a:spLocks noGrp="1"/>
          </p:cNvSpPr>
          <p:nvPr>
            <p:ph type="body" sz="quarter" idx="61" hasCustomPrompt="1"/>
          </p:nvPr>
        </p:nvSpPr>
        <p:spPr>
          <a:xfrm>
            <a:off x="6083301" y="1632757"/>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79" name="Rounded Rectangle 78">
            <a:extLst>
              <a:ext uri="{FF2B5EF4-FFF2-40B4-BE49-F238E27FC236}">
                <a16:creationId xmlns:a16="http://schemas.microsoft.com/office/drawing/2014/main" id="{A3F711BA-9FDC-2A32-A8EA-B5A116CB798E}"/>
              </a:ext>
            </a:extLst>
          </p:cNvPr>
          <p:cNvSpPr/>
          <p:nvPr/>
        </p:nvSpPr>
        <p:spPr>
          <a:xfrm>
            <a:off x="5286376" y="2339442"/>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0" name="Picture Placeholder 9">
            <a:extLst>
              <a:ext uri="{FF2B5EF4-FFF2-40B4-BE49-F238E27FC236}">
                <a16:creationId xmlns:a16="http://schemas.microsoft.com/office/drawing/2014/main" id="{4B3BDBF7-F64A-3311-412F-43099E39251E}"/>
              </a:ext>
            </a:extLst>
          </p:cNvPr>
          <p:cNvSpPr>
            <a:spLocks noGrp="1"/>
          </p:cNvSpPr>
          <p:nvPr>
            <p:ph type="pic" sz="quarter" idx="62" hasCustomPrompt="1"/>
          </p:nvPr>
        </p:nvSpPr>
        <p:spPr>
          <a:xfrm>
            <a:off x="4629151" y="2339440"/>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81" name="Text Placeholder 32">
            <a:extLst>
              <a:ext uri="{FF2B5EF4-FFF2-40B4-BE49-F238E27FC236}">
                <a16:creationId xmlns:a16="http://schemas.microsoft.com/office/drawing/2014/main" id="{6898504E-E4B6-A24B-64C6-92576937C915}"/>
              </a:ext>
            </a:extLst>
          </p:cNvPr>
          <p:cNvSpPr>
            <a:spLocks noGrp="1"/>
          </p:cNvSpPr>
          <p:nvPr>
            <p:ph type="body" sz="quarter" idx="63" hasCustomPrompt="1"/>
          </p:nvPr>
        </p:nvSpPr>
        <p:spPr>
          <a:xfrm>
            <a:off x="6083301" y="2432142"/>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82" name="Text Placeholder 32">
            <a:extLst>
              <a:ext uri="{FF2B5EF4-FFF2-40B4-BE49-F238E27FC236}">
                <a16:creationId xmlns:a16="http://schemas.microsoft.com/office/drawing/2014/main" id="{2798300D-A24C-3B9D-4063-B27B9C0B25AE}"/>
              </a:ext>
            </a:extLst>
          </p:cNvPr>
          <p:cNvSpPr>
            <a:spLocks noGrp="1"/>
          </p:cNvSpPr>
          <p:nvPr>
            <p:ph type="body" sz="quarter" idx="64" hasCustomPrompt="1"/>
          </p:nvPr>
        </p:nvSpPr>
        <p:spPr>
          <a:xfrm>
            <a:off x="6083301" y="2717278"/>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83" name="Rounded Rectangle 82">
            <a:extLst>
              <a:ext uri="{FF2B5EF4-FFF2-40B4-BE49-F238E27FC236}">
                <a16:creationId xmlns:a16="http://schemas.microsoft.com/office/drawing/2014/main" id="{61E52637-2700-A4A6-5111-86BC3EF9A076}"/>
              </a:ext>
            </a:extLst>
          </p:cNvPr>
          <p:cNvSpPr/>
          <p:nvPr/>
        </p:nvSpPr>
        <p:spPr>
          <a:xfrm>
            <a:off x="5286376" y="3423963"/>
            <a:ext cx="3571875" cy="963611"/>
          </a:xfrm>
          <a:prstGeom prst="roundRect">
            <a:avLst>
              <a:gd name="adj" fmla="val 811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4" name="Picture Placeholder 9">
            <a:extLst>
              <a:ext uri="{FF2B5EF4-FFF2-40B4-BE49-F238E27FC236}">
                <a16:creationId xmlns:a16="http://schemas.microsoft.com/office/drawing/2014/main" id="{88040A1B-2FD3-C02B-685A-30526079CB89}"/>
              </a:ext>
            </a:extLst>
          </p:cNvPr>
          <p:cNvSpPr>
            <a:spLocks noGrp="1"/>
          </p:cNvSpPr>
          <p:nvPr>
            <p:ph type="pic" sz="quarter" idx="65" hasCustomPrompt="1"/>
          </p:nvPr>
        </p:nvSpPr>
        <p:spPr>
          <a:xfrm>
            <a:off x="4629151" y="3423961"/>
            <a:ext cx="1156970" cy="963612"/>
          </a:xfrm>
          <a:prstGeom prst="roundRect">
            <a:avLst>
              <a:gd name="adj" fmla="val 10495"/>
            </a:avLst>
          </a:prstGeom>
          <a:solidFill>
            <a:schemeClr val="accent2"/>
          </a:solidFill>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Insert staff image</a:t>
            </a:r>
          </a:p>
        </p:txBody>
      </p:sp>
      <p:sp>
        <p:nvSpPr>
          <p:cNvPr id="85" name="Text Placeholder 32">
            <a:extLst>
              <a:ext uri="{FF2B5EF4-FFF2-40B4-BE49-F238E27FC236}">
                <a16:creationId xmlns:a16="http://schemas.microsoft.com/office/drawing/2014/main" id="{C0FDB13E-73D8-84F1-18DE-9AAD64126BE4}"/>
              </a:ext>
            </a:extLst>
          </p:cNvPr>
          <p:cNvSpPr>
            <a:spLocks noGrp="1"/>
          </p:cNvSpPr>
          <p:nvPr>
            <p:ph type="body" sz="quarter" idx="66" hasCustomPrompt="1"/>
          </p:nvPr>
        </p:nvSpPr>
        <p:spPr>
          <a:xfrm>
            <a:off x="6083301" y="3516663"/>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86" name="Text Placeholder 32">
            <a:extLst>
              <a:ext uri="{FF2B5EF4-FFF2-40B4-BE49-F238E27FC236}">
                <a16:creationId xmlns:a16="http://schemas.microsoft.com/office/drawing/2014/main" id="{C60005C4-25EF-3D80-5BA7-346AA3A3B996}"/>
              </a:ext>
            </a:extLst>
          </p:cNvPr>
          <p:cNvSpPr>
            <a:spLocks noGrp="1"/>
          </p:cNvSpPr>
          <p:nvPr>
            <p:ph type="body" sz="quarter" idx="67" hasCustomPrompt="1"/>
          </p:nvPr>
        </p:nvSpPr>
        <p:spPr>
          <a:xfrm>
            <a:off x="6083301" y="3801799"/>
            <a:ext cx="2636306" cy="482087"/>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stStyle>
          <a:p>
            <a:pPr lvl="0"/>
            <a:r>
              <a:rPr lang="en-US"/>
              <a:t>Title, Organization (if not ACCME)</a:t>
            </a:r>
          </a:p>
        </p:txBody>
      </p:sp>
      <p:sp>
        <p:nvSpPr>
          <p:cNvPr id="87" name="Text Placeholder 32">
            <a:extLst>
              <a:ext uri="{FF2B5EF4-FFF2-40B4-BE49-F238E27FC236}">
                <a16:creationId xmlns:a16="http://schemas.microsoft.com/office/drawing/2014/main" id="{A5A8A90A-9343-72B5-424E-8777B3EFEFF2}"/>
              </a:ext>
            </a:extLst>
          </p:cNvPr>
          <p:cNvSpPr>
            <a:spLocks noGrp="1"/>
          </p:cNvSpPr>
          <p:nvPr>
            <p:ph type="body" sz="quarter" idx="68" hasCustomPrompt="1"/>
          </p:nvPr>
        </p:nvSpPr>
        <p:spPr>
          <a:xfrm>
            <a:off x="6083301" y="1349929"/>
            <a:ext cx="2536825" cy="304800"/>
          </a:xfrm>
          <a:prstGeom prst="rect">
            <a:avLst/>
          </a:prstGeom>
        </p:spPr>
        <p:txBody>
          <a:bodyPr lIns="0" tIns="0" rIns="0" bIns="0"/>
          <a:lstStyle>
            <a:lvl1pPr marL="0" indent="0">
              <a:buNone/>
              <a:defRPr sz="1400" b="1">
                <a:solidFill>
                  <a:schemeClr val="accent2"/>
                </a:solidFill>
                <a:latin typeface="Arial" panose="020B0604020202020204" pitchFamily="34" charset="0"/>
                <a:cs typeface="Arial" panose="020B0604020202020204" pitchFamily="34" charset="0"/>
              </a:defRPr>
            </a:lvl1pPr>
          </a:lstStyle>
          <a:p>
            <a:pPr lvl="0"/>
            <a:r>
              <a:rPr lang="en-US"/>
              <a:t>Name, Credential</a:t>
            </a:r>
          </a:p>
        </p:txBody>
      </p:sp>
      <p:sp>
        <p:nvSpPr>
          <p:cNvPr id="88" name="Vertical Text Placeholder 69">
            <a:extLst>
              <a:ext uri="{FF2B5EF4-FFF2-40B4-BE49-F238E27FC236}">
                <a16:creationId xmlns:a16="http://schemas.microsoft.com/office/drawing/2014/main" id="{C67B430B-4078-7A3A-FA39-23E666D90304}"/>
              </a:ext>
            </a:extLst>
          </p:cNvPr>
          <p:cNvSpPr>
            <a:spLocks noGrp="1"/>
          </p:cNvSpPr>
          <p:nvPr>
            <p:ph type="body" orient="vert" sz="quarter" idx="69"/>
          </p:nvPr>
        </p:nvSpPr>
        <p:spPr>
          <a:xfrm>
            <a:off x="5695951" y="1254920"/>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sp>
        <p:nvSpPr>
          <p:cNvPr id="89" name="Vertical Text Placeholder 69">
            <a:extLst>
              <a:ext uri="{FF2B5EF4-FFF2-40B4-BE49-F238E27FC236}">
                <a16:creationId xmlns:a16="http://schemas.microsoft.com/office/drawing/2014/main" id="{2CE08EEB-166B-EA7A-A94C-3DD184B464BC}"/>
              </a:ext>
            </a:extLst>
          </p:cNvPr>
          <p:cNvSpPr>
            <a:spLocks noGrp="1"/>
          </p:cNvSpPr>
          <p:nvPr>
            <p:ph type="body" orient="vert" sz="quarter" idx="70"/>
          </p:nvPr>
        </p:nvSpPr>
        <p:spPr>
          <a:xfrm>
            <a:off x="5695951" y="2337595"/>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sp>
        <p:nvSpPr>
          <p:cNvPr id="90" name="Vertical Text Placeholder 69">
            <a:extLst>
              <a:ext uri="{FF2B5EF4-FFF2-40B4-BE49-F238E27FC236}">
                <a16:creationId xmlns:a16="http://schemas.microsoft.com/office/drawing/2014/main" id="{DE02DC66-6529-7D8B-494E-CA39CF1AA14E}"/>
              </a:ext>
            </a:extLst>
          </p:cNvPr>
          <p:cNvSpPr>
            <a:spLocks noGrp="1"/>
          </p:cNvSpPr>
          <p:nvPr>
            <p:ph type="body" orient="vert" sz="quarter" idx="71"/>
          </p:nvPr>
        </p:nvSpPr>
        <p:spPr>
          <a:xfrm>
            <a:off x="5695951" y="3423445"/>
            <a:ext cx="107949" cy="963611"/>
          </a:xfrm>
          <a:prstGeom prst="rect">
            <a:avLst/>
          </a:prstGeom>
          <a:solidFill>
            <a:schemeClr val="accent1"/>
          </a:solidFill>
        </p:spPr>
        <p:txBody>
          <a:bodyPr vert="eaVert"/>
          <a:lstStyle>
            <a:lvl1pPr marL="0" indent="0">
              <a:buNone/>
              <a:defRPr sz="100">
                <a:latin typeface="Arial" panose="020B0604020202020204" pitchFamily="34" charset="0"/>
                <a:cs typeface="Arial" panose="020B0604020202020204" pitchFamily="34" charset="0"/>
              </a:defRPr>
            </a:lvl1pPr>
          </a:lstStyle>
          <a:p>
            <a:pPr lvl="0"/>
            <a:r>
              <a:rPr lang="en-US"/>
              <a:t>Click to edit Master text styles</a:t>
            </a:r>
          </a:p>
        </p:txBody>
      </p:sp>
      <p:pic>
        <p:nvPicPr>
          <p:cNvPr id="2" name="Picture 1">
            <a:extLst>
              <a:ext uri="{FF2B5EF4-FFF2-40B4-BE49-F238E27FC236}">
                <a16:creationId xmlns:a16="http://schemas.microsoft.com/office/drawing/2014/main" id="{FC4E335F-BEA3-B9B5-44E7-C22ADF09F02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650916"/>
            <a:ext cx="877226" cy="164479"/>
          </a:xfrm>
          <a:prstGeom prst="rect">
            <a:avLst/>
          </a:prstGeom>
        </p:spPr>
      </p:pic>
      <p:sp>
        <p:nvSpPr>
          <p:cNvPr id="3" name="Title 9">
            <a:extLst>
              <a:ext uri="{FF2B5EF4-FFF2-40B4-BE49-F238E27FC236}">
                <a16:creationId xmlns:a16="http://schemas.microsoft.com/office/drawing/2014/main" id="{B7D1E33A-4D0F-E23C-6667-E5993377BF87}"/>
              </a:ext>
            </a:extLst>
          </p:cNvPr>
          <p:cNvSpPr>
            <a:spLocks noGrp="1"/>
          </p:cNvSpPr>
          <p:nvPr>
            <p:ph type="title" hasCustomPrompt="1"/>
          </p:nvPr>
        </p:nvSpPr>
        <p:spPr>
          <a:xfrm>
            <a:off x="285749" y="544678"/>
            <a:ext cx="8583613"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4" name="Text Placeholder 4">
            <a:extLst>
              <a:ext uri="{FF2B5EF4-FFF2-40B4-BE49-F238E27FC236}">
                <a16:creationId xmlns:a16="http://schemas.microsoft.com/office/drawing/2014/main" id="{59869C8C-711E-F339-8D78-4E0DBA7093AF}"/>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470381433"/>
      </p:ext>
    </p:extLst>
  </p:cSld>
  <p:clrMapOvr>
    <a:masterClrMapping/>
  </p:clrMapOvr>
  <p:extLst>
    <p:ext uri="{DCECCB84-F9BA-43D5-87BE-67443E8EF086}">
      <p15:sldGuideLst xmlns:p15="http://schemas.microsoft.com/office/powerpoint/2012/main">
        <p15:guide id="1" orient="horz" pos="1218">
          <p15:clr>
            <a:srgbClr val="FBAE40"/>
          </p15:clr>
        </p15:guide>
        <p15:guide id="2"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gradi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A white letter on a black background&#10;&#10;AI-generated content may be incorrect.">
            <a:extLst>
              <a:ext uri="{FF2B5EF4-FFF2-40B4-BE49-F238E27FC236}">
                <a16:creationId xmlns:a16="http://schemas.microsoft.com/office/drawing/2014/main" id="{7A0312ED-3EA9-24CF-A532-08AE898404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
        <p:nvSpPr>
          <p:cNvPr id="5" name="Text Placeholder 4">
            <a:extLst>
              <a:ext uri="{FF2B5EF4-FFF2-40B4-BE49-F238E27FC236}">
                <a16:creationId xmlns:a16="http://schemas.microsoft.com/office/drawing/2014/main" id="{F1B9216D-535B-0086-76CD-A7D2E18AB96E}"/>
              </a:ext>
            </a:extLst>
          </p:cNvPr>
          <p:cNvSpPr>
            <a:spLocks noGrp="1"/>
          </p:cNvSpPr>
          <p:nvPr>
            <p:ph type="body" sz="quarter" idx="12" hasCustomPrompt="1"/>
          </p:nvPr>
        </p:nvSpPr>
        <p:spPr>
          <a:xfrm>
            <a:off x="285750" y="619166"/>
            <a:ext cx="8578678" cy="2926144"/>
          </a:xfrm>
          <a:prstGeom prst="rect">
            <a:avLst/>
          </a:prstGeom>
        </p:spPr>
        <p:txBody>
          <a:bodyPr lIns="0" tIns="0" rIns="0" bIns="0"/>
          <a:lstStyle>
            <a:lvl1pPr marL="0" indent="0">
              <a:buNone/>
              <a:defRPr sz="4800" b="1" i="0">
                <a:solidFill>
                  <a:schemeClr val="bg1"/>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Mission &amp; Vision</a:t>
            </a:r>
          </a:p>
        </p:txBody>
      </p:sp>
      <p:sp>
        <p:nvSpPr>
          <p:cNvPr id="2" name="Text Placeholder 4">
            <a:extLst>
              <a:ext uri="{FF2B5EF4-FFF2-40B4-BE49-F238E27FC236}">
                <a16:creationId xmlns:a16="http://schemas.microsoft.com/office/drawing/2014/main" id="{804EBED6-4280-DA02-BEB5-063819253ACF}"/>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892429554"/>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Image Quote (dark)">
    <p:bg>
      <p:bgPr>
        <a:solidFill>
          <a:schemeClr val="tx2"/>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B8094B65-924F-C048-3076-C92FBF9746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43150" y="0"/>
            <a:ext cx="889000" cy="800100"/>
          </a:xfrm>
          <a:prstGeom prst="rect">
            <a:avLst/>
          </a:prstGeom>
        </p:spPr>
      </p:pic>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23431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accent1"/>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3067193" y="3352800"/>
            <a:ext cx="4229100" cy="209550"/>
          </a:xfrm>
          <a:prstGeom prst="rect">
            <a:avLst/>
          </a:prstGeom>
        </p:spPr>
        <p:txBody>
          <a:bodyPr lIns="0" tIns="0" rIns="0" bIns="0"/>
          <a:lstStyle>
            <a:lvl1pPr marL="0" indent="0" fontAlgn="auto">
              <a:spcBef>
                <a:spcPts val="0"/>
              </a:spcBef>
              <a:buNone/>
              <a:defRPr sz="1400" b="1" i="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3067193" y="3581400"/>
            <a:ext cx="4229100" cy="209550"/>
          </a:xfrm>
          <a:prstGeom prst="rect">
            <a:avLst/>
          </a:prstGeom>
        </p:spPr>
        <p:txBody>
          <a:bodyPr lIns="0" tIns="0" rIns="0" bIns="0"/>
          <a:lstStyle>
            <a:lvl1pPr marL="0" indent="0" fontAlgn="auto">
              <a:spcBef>
                <a:spcPts val="0"/>
              </a:spcBef>
              <a:buNone/>
              <a:defRPr sz="120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3" name="Text Placeholder 22">
            <a:extLst>
              <a:ext uri="{FF2B5EF4-FFF2-40B4-BE49-F238E27FC236}">
                <a16:creationId xmlns:a16="http://schemas.microsoft.com/office/drawing/2014/main" id="{DCA9774F-B91B-176C-DD4D-B13F675D8FA7}"/>
              </a:ext>
            </a:extLst>
          </p:cNvPr>
          <p:cNvSpPr>
            <a:spLocks noGrp="1"/>
          </p:cNvSpPr>
          <p:nvPr>
            <p:ph type="body" sz="quarter" idx="16" hasCustomPrompt="1"/>
          </p:nvPr>
        </p:nvSpPr>
        <p:spPr>
          <a:xfrm>
            <a:off x="3067050" y="514351"/>
            <a:ext cx="5067300" cy="1930400"/>
          </a:xfrm>
          <a:prstGeom prst="rect">
            <a:avLst/>
          </a:prstGeom>
        </p:spPr>
        <p:txBody>
          <a:bodyPr lIns="0" tIns="0" rIns="0" bIns="0"/>
          <a:lstStyle>
            <a:lvl1pPr marL="0" indent="0">
              <a:buNone/>
              <a:defRPr sz="2400" b="1" i="0">
                <a:solidFill>
                  <a:schemeClr val="bg1"/>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2" name="Picture 1" descr="A white letter on a black background&#10;&#10;AI-generated content may be incorrect.">
            <a:extLst>
              <a:ext uri="{FF2B5EF4-FFF2-40B4-BE49-F238E27FC236}">
                <a16:creationId xmlns:a16="http://schemas.microsoft.com/office/drawing/2014/main" id="{5DC58004-9798-FAB7-D227-D3166FAC10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3836175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mall Image Quote (dark)">
    <p:bg>
      <p:bgPr>
        <a:solidFill>
          <a:schemeClr val="tx2"/>
        </a:solidFill>
        <a:effectLst/>
      </p:bgPr>
    </p:bg>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23431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accent1"/>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23" name="Text Placeholder 22">
            <a:extLst>
              <a:ext uri="{FF2B5EF4-FFF2-40B4-BE49-F238E27FC236}">
                <a16:creationId xmlns:a16="http://schemas.microsoft.com/office/drawing/2014/main" id="{DCA9774F-B91B-176C-DD4D-B13F675D8FA7}"/>
              </a:ext>
            </a:extLst>
          </p:cNvPr>
          <p:cNvSpPr>
            <a:spLocks noGrp="1"/>
          </p:cNvSpPr>
          <p:nvPr>
            <p:ph type="body" sz="quarter" idx="16" hasCustomPrompt="1"/>
          </p:nvPr>
        </p:nvSpPr>
        <p:spPr>
          <a:xfrm>
            <a:off x="3067050" y="514351"/>
            <a:ext cx="5067300" cy="1930400"/>
          </a:xfrm>
          <a:prstGeom prst="rect">
            <a:avLst/>
          </a:prstGeom>
        </p:spPr>
        <p:txBody>
          <a:bodyPr lIns="0" tIns="0" rIns="0" bIns="0"/>
          <a:lstStyle>
            <a:lvl1pPr marL="0" indent="0">
              <a:buNone/>
              <a:defRPr sz="2400" b="1" i="0">
                <a:solidFill>
                  <a:schemeClr val="bg1"/>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2" name="Picture 1" descr="A white letter on a black background&#10;&#10;AI-generated content may be incorrect.">
            <a:extLst>
              <a:ext uri="{FF2B5EF4-FFF2-40B4-BE49-F238E27FC236}">
                <a16:creationId xmlns:a16="http://schemas.microsoft.com/office/drawing/2014/main" id="{5DC58004-9798-FAB7-D227-D3166FAC104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42697141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mall Image Quote (blue)">
    <p:bg>
      <p:bgPr>
        <a:solidFill>
          <a:schemeClr val="accent1"/>
        </a:solidFill>
        <a:effectLst/>
      </p:bgPr>
    </p:bg>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23431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tx2"/>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3181495" y="3352800"/>
            <a:ext cx="3529550" cy="209550"/>
          </a:xfrm>
          <a:prstGeom prst="rect">
            <a:avLst/>
          </a:prstGeom>
        </p:spPr>
        <p:txBody>
          <a:bodyPr lIns="0" tIns="0" rIns="0" bIns="0"/>
          <a:lstStyle>
            <a:lvl1pPr marL="0" indent="0" fontAlgn="auto">
              <a:spcBef>
                <a:spcPts val="0"/>
              </a:spcBef>
              <a:buNone/>
              <a:defRPr sz="1400" b="1" i="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3181495" y="3581400"/>
            <a:ext cx="3529550" cy="209550"/>
          </a:xfrm>
          <a:prstGeom prst="rect">
            <a:avLst/>
          </a:prstGeom>
        </p:spPr>
        <p:txBody>
          <a:bodyPr lIns="0" tIns="0" rIns="0" bIns="0"/>
          <a:lstStyle>
            <a:lvl1pPr marL="0" indent="0" fontAlgn="auto">
              <a:spcBef>
                <a:spcPts val="0"/>
              </a:spcBef>
              <a:buNone/>
              <a:defRPr sz="120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3" name="Text Placeholder 22">
            <a:extLst>
              <a:ext uri="{FF2B5EF4-FFF2-40B4-BE49-F238E27FC236}">
                <a16:creationId xmlns:a16="http://schemas.microsoft.com/office/drawing/2014/main" id="{DCA9774F-B91B-176C-DD4D-B13F675D8FA7}"/>
              </a:ext>
            </a:extLst>
          </p:cNvPr>
          <p:cNvSpPr>
            <a:spLocks noGrp="1"/>
          </p:cNvSpPr>
          <p:nvPr>
            <p:ph type="body" sz="quarter" idx="16" hasCustomPrompt="1"/>
          </p:nvPr>
        </p:nvSpPr>
        <p:spPr>
          <a:xfrm>
            <a:off x="3181350" y="514350"/>
            <a:ext cx="4229100" cy="2357438"/>
          </a:xfrm>
          <a:prstGeom prst="rect">
            <a:avLst/>
          </a:prstGeom>
        </p:spPr>
        <p:txBody>
          <a:bodyPr lIns="0" tIns="0" rIns="0" bIns="0"/>
          <a:lstStyle>
            <a:lvl1pPr marL="0" indent="0">
              <a:buNone/>
              <a:defRPr sz="2400" b="1" i="0">
                <a:solidFill>
                  <a:schemeClr val="tx2"/>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2" name="Picture 1" descr="A blue letter on a black background&#10;&#10;AI-generated content may be incorrect.">
            <a:extLst>
              <a:ext uri="{FF2B5EF4-FFF2-40B4-BE49-F238E27FC236}">
                <a16:creationId xmlns:a16="http://schemas.microsoft.com/office/drawing/2014/main" id="{C6660BD4-AD41-337B-9666-7C255519BB5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18727344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edium Image Quote (dark)">
    <p:bg>
      <p:bgPr>
        <a:solidFill>
          <a:schemeClr val="tx2"/>
        </a:solidFill>
        <a:effectLst/>
      </p:bgPr>
    </p:bg>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381000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accent1"/>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4629295" y="3352800"/>
            <a:ext cx="3529550" cy="209550"/>
          </a:xfrm>
          <a:prstGeom prst="rect">
            <a:avLst/>
          </a:prstGeom>
        </p:spPr>
        <p:txBody>
          <a:bodyPr lIns="0" tIns="0" rIns="0" bIns="0"/>
          <a:lstStyle>
            <a:lvl1pPr marL="0" indent="0" fontAlgn="auto">
              <a:spcBef>
                <a:spcPts val="0"/>
              </a:spcBef>
              <a:buNone/>
              <a:defRPr sz="1400" b="1" i="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4629295" y="3581400"/>
            <a:ext cx="3529550" cy="209550"/>
          </a:xfrm>
          <a:prstGeom prst="rect">
            <a:avLst/>
          </a:prstGeom>
        </p:spPr>
        <p:txBody>
          <a:bodyPr lIns="0" tIns="0" rIns="0" bIns="0"/>
          <a:lstStyle>
            <a:lvl1pPr marL="0" indent="0" fontAlgn="auto">
              <a:spcBef>
                <a:spcPts val="0"/>
              </a:spcBef>
              <a:buNone/>
              <a:defRPr sz="120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3" name="Text Placeholder 22">
            <a:extLst>
              <a:ext uri="{FF2B5EF4-FFF2-40B4-BE49-F238E27FC236}">
                <a16:creationId xmlns:a16="http://schemas.microsoft.com/office/drawing/2014/main" id="{DCA9774F-B91B-176C-DD4D-B13F675D8FA7}"/>
              </a:ext>
            </a:extLst>
          </p:cNvPr>
          <p:cNvSpPr>
            <a:spLocks noGrp="1"/>
          </p:cNvSpPr>
          <p:nvPr>
            <p:ph type="body" sz="quarter" idx="16" hasCustomPrompt="1"/>
          </p:nvPr>
        </p:nvSpPr>
        <p:spPr>
          <a:xfrm>
            <a:off x="4629150" y="514351"/>
            <a:ext cx="4229100" cy="1930400"/>
          </a:xfrm>
          <a:prstGeom prst="rect">
            <a:avLst/>
          </a:prstGeom>
        </p:spPr>
        <p:txBody>
          <a:bodyPr lIns="0" tIns="0" rIns="0" bIns="0"/>
          <a:lstStyle>
            <a:lvl1pPr marL="0" indent="0">
              <a:buNone/>
              <a:defRPr sz="2400" b="1" i="0">
                <a:solidFill>
                  <a:schemeClr val="bg1"/>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2" name="Picture 1" descr="A white letter on a black background&#10;&#10;AI-generated content may be incorrect.">
            <a:extLst>
              <a:ext uri="{FF2B5EF4-FFF2-40B4-BE49-F238E27FC236}">
                <a16:creationId xmlns:a16="http://schemas.microsoft.com/office/drawing/2014/main" id="{F45F5365-2D31-A97A-690C-AA84D98B20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8265903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mall Image Quote (light blue)">
    <p:bg>
      <p:bgPr>
        <a:solidFill>
          <a:schemeClr val="accent1"/>
        </a:solidFill>
        <a:effectLst/>
      </p:bgPr>
    </p:bg>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39052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tx2"/>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4629295" y="3352800"/>
            <a:ext cx="3529550" cy="209550"/>
          </a:xfrm>
          <a:prstGeom prst="rect">
            <a:avLst/>
          </a:prstGeom>
        </p:spPr>
        <p:txBody>
          <a:bodyPr lIns="0" tIns="0" rIns="0" bIns="0"/>
          <a:lstStyle>
            <a:lvl1pPr marL="0" indent="0" fontAlgn="auto">
              <a:spcBef>
                <a:spcPts val="0"/>
              </a:spcBef>
              <a:buNone/>
              <a:defRPr sz="1400" b="1" i="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4629295" y="3581400"/>
            <a:ext cx="3529550" cy="209550"/>
          </a:xfrm>
          <a:prstGeom prst="rect">
            <a:avLst/>
          </a:prstGeom>
        </p:spPr>
        <p:txBody>
          <a:bodyPr lIns="0" tIns="0" rIns="0" bIns="0"/>
          <a:lstStyle>
            <a:lvl1pPr marL="0" indent="0" fontAlgn="auto">
              <a:spcBef>
                <a:spcPts val="0"/>
              </a:spcBef>
              <a:buNone/>
              <a:defRPr sz="120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3" name="Text Placeholder 22">
            <a:extLst>
              <a:ext uri="{FF2B5EF4-FFF2-40B4-BE49-F238E27FC236}">
                <a16:creationId xmlns:a16="http://schemas.microsoft.com/office/drawing/2014/main" id="{DCA9774F-B91B-176C-DD4D-B13F675D8FA7}"/>
              </a:ext>
            </a:extLst>
          </p:cNvPr>
          <p:cNvSpPr>
            <a:spLocks noGrp="1"/>
          </p:cNvSpPr>
          <p:nvPr>
            <p:ph type="body" sz="quarter" idx="16" hasCustomPrompt="1"/>
          </p:nvPr>
        </p:nvSpPr>
        <p:spPr>
          <a:xfrm>
            <a:off x="4629150" y="514350"/>
            <a:ext cx="4229100" cy="2357438"/>
          </a:xfrm>
          <a:prstGeom prst="rect">
            <a:avLst/>
          </a:prstGeom>
        </p:spPr>
        <p:txBody>
          <a:bodyPr lIns="0" tIns="0" rIns="0" bIns="0"/>
          <a:lstStyle>
            <a:lvl1pPr marL="0" indent="0">
              <a:buNone/>
              <a:defRPr sz="2400" b="1" i="0">
                <a:solidFill>
                  <a:schemeClr val="tx2"/>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3" name="Picture 2" descr="A blue letter on a black background&#10;&#10;AI-generated content may be incorrect.">
            <a:extLst>
              <a:ext uri="{FF2B5EF4-FFF2-40B4-BE49-F238E27FC236}">
                <a16:creationId xmlns:a16="http://schemas.microsoft.com/office/drawing/2014/main" id="{CE2EF427-BCBB-05F6-196D-FF05356D24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575203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mall Image Quote (green)">
    <p:bg>
      <p:bgPr>
        <a:solidFill>
          <a:schemeClr val="accent3"/>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B8094B65-924F-C048-3076-C92FBF9746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43150" y="0"/>
            <a:ext cx="889000" cy="800100"/>
          </a:xfrm>
          <a:prstGeom prst="rect">
            <a:avLst/>
          </a:prstGeom>
        </p:spPr>
      </p:pic>
      <p:sp>
        <p:nvSpPr>
          <p:cNvPr id="4" name="Picture Placeholder 7">
            <a:extLst>
              <a:ext uri="{FF2B5EF4-FFF2-40B4-BE49-F238E27FC236}">
                <a16:creationId xmlns:a16="http://schemas.microsoft.com/office/drawing/2014/main" id="{914689B3-6AE9-F438-FF5B-90F1C5F9BE40}"/>
              </a:ext>
            </a:extLst>
          </p:cNvPr>
          <p:cNvSpPr>
            <a:spLocks noGrp="1"/>
          </p:cNvSpPr>
          <p:nvPr>
            <p:ph type="pic" sz="quarter" idx="10"/>
          </p:nvPr>
        </p:nvSpPr>
        <p:spPr>
          <a:xfrm>
            <a:off x="0" y="0"/>
            <a:ext cx="23431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accent1"/>
          </a:solidFill>
        </p:spPr>
        <p:txBody>
          <a:bodyPr/>
          <a:lstStyle>
            <a:lvl1pPr marL="0" indent="0">
              <a:buNone/>
              <a:defRPr>
                <a:noFill/>
                <a:latin typeface="Arial" panose="020B0604020202020204" pitchFamily="34" charset="0"/>
                <a:cs typeface="Arial" panose="020B0604020202020204" pitchFamily="34" charset="0"/>
              </a:defRPr>
            </a:lvl1pPr>
          </a:lstStyle>
          <a:p>
            <a:r>
              <a:rPr lang="en-US"/>
              <a:t>Click icon to add picture</a:t>
            </a:r>
          </a:p>
        </p:txBody>
      </p:sp>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3067050" y="3352800"/>
            <a:ext cx="5067299" cy="209550"/>
          </a:xfrm>
          <a:prstGeom prst="rect">
            <a:avLst/>
          </a:prstGeom>
        </p:spPr>
        <p:txBody>
          <a:bodyPr lIns="0" tIns="0" rIns="0" bIns="0"/>
          <a:lstStyle>
            <a:lvl1pPr marL="0" indent="0" fontAlgn="auto">
              <a:spcBef>
                <a:spcPts val="0"/>
              </a:spcBef>
              <a:buNone/>
              <a:defRPr sz="1400" b="1" i="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3067050" y="3581400"/>
            <a:ext cx="5067299" cy="209550"/>
          </a:xfrm>
          <a:prstGeom prst="rect">
            <a:avLst/>
          </a:prstGeom>
        </p:spPr>
        <p:txBody>
          <a:bodyPr lIns="0" tIns="0" rIns="0" bIns="0"/>
          <a:lstStyle>
            <a:lvl1pPr marL="0" indent="0" fontAlgn="auto">
              <a:spcBef>
                <a:spcPts val="0"/>
              </a:spcBef>
              <a:buNone/>
              <a:defRPr sz="120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 name="Text Placeholder 22">
            <a:extLst>
              <a:ext uri="{FF2B5EF4-FFF2-40B4-BE49-F238E27FC236}">
                <a16:creationId xmlns:a16="http://schemas.microsoft.com/office/drawing/2014/main" id="{96479183-2B5A-4BD4-0BAB-45D168D06071}"/>
              </a:ext>
            </a:extLst>
          </p:cNvPr>
          <p:cNvSpPr>
            <a:spLocks noGrp="1"/>
          </p:cNvSpPr>
          <p:nvPr>
            <p:ph type="body" sz="quarter" idx="16" hasCustomPrompt="1"/>
          </p:nvPr>
        </p:nvSpPr>
        <p:spPr>
          <a:xfrm>
            <a:off x="3067050" y="514351"/>
            <a:ext cx="5067300" cy="1930400"/>
          </a:xfrm>
          <a:prstGeom prst="rect">
            <a:avLst/>
          </a:prstGeom>
        </p:spPr>
        <p:txBody>
          <a:bodyPr lIns="0" tIns="0" rIns="0" bIns="0"/>
          <a:lstStyle>
            <a:lvl1pPr marL="0" indent="0">
              <a:buNone/>
              <a:defRPr sz="2000" b="1" i="0">
                <a:solidFill>
                  <a:schemeClr val="tx2"/>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3" name="Picture 2" descr="A blue letter on a black background&#10;&#10;AI-generated content may be incorrect.">
            <a:extLst>
              <a:ext uri="{FF2B5EF4-FFF2-40B4-BE49-F238E27FC236}">
                <a16:creationId xmlns:a16="http://schemas.microsoft.com/office/drawing/2014/main" id="{AFB1D66C-2787-77D6-E827-48C567825F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3705736806"/>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No image quote (green)">
    <p:bg>
      <p:bgPr>
        <a:solidFill>
          <a:schemeClr val="accent3"/>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B8094B65-924F-C048-3076-C92FBF9746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51" y="0"/>
            <a:ext cx="889000" cy="800100"/>
          </a:xfrm>
          <a:prstGeom prst="rect">
            <a:avLst/>
          </a:prstGeom>
        </p:spPr>
      </p:pic>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285750" y="3352800"/>
            <a:ext cx="4229100" cy="209550"/>
          </a:xfrm>
          <a:prstGeom prst="rect">
            <a:avLst/>
          </a:prstGeom>
        </p:spPr>
        <p:txBody>
          <a:bodyPr lIns="0" tIns="0" rIns="0" bIns="0"/>
          <a:lstStyle>
            <a:lvl1pPr marL="0" indent="0" fontAlgn="auto">
              <a:spcBef>
                <a:spcPts val="0"/>
              </a:spcBef>
              <a:buNone/>
              <a:defRPr sz="1400" b="1" i="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285750" y="3581400"/>
            <a:ext cx="4229100" cy="209550"/>
          </a:xfrm>
          <a:prstGeom prst="rect">
            <a:avLst/>
          </a:prstGeom>
        </p:spPr>
        <p:txBody>
          <a:bodyPr lIns="0" tIns="0" rIns="0" bIns="0"/>
          <a:lstStyle>
            <a:lvl1pPr marL="0" indent="0" fontAlgn="auto">
              <a:spcBef>
                <a:spcPts val="0"/>
              </a:spcBef>
              <a:buNone/>
              <a:defRPr sz="120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 name="Text Placeholder 22">
            <a:extLst>
              <a:ext uri="{FF2B5EF4-FFF2-40B4-BE49-F238E27FC236}">
                <a16:creationId xmlns:a16="http://schemas.microsoft.com/office/drawing/2014/main" id="{96479183-2B5A-4BD4-0BAB-45D168D06071}"/>
              </a:ext>
            </a:extLst>
          </p:cNvPr>
          <p:cNvSpPr>
            <a:spLocks noGrp="1"/>
          </p:cNvSpPr>
          <p:nvPr>
            <p:ph type="body" sz="quarter" idx="16" hasCustomPrompt="1"/>
          </p:nvPr>
        </p:nvSpPr>
        <p:spPr>
          <a:xfrm>
            <a:off x="285750" y="514351"/>
            <a:ext cx="5676900" cy="1930400"/>
          </a:xfrm>
          <a:prstGeom prst="rect">
            <a:avLst/>
          </a:prstGeom>
        </p:spPr>
        <p:txBody>
          <a:bodyPr lIns="0" tIns="0" rIns="0" bIns="0"/>
          <a:lstStyle>
            <a:lvl1pPr marL="0" indent="0">
              <a:buNone/>
              <a:defRPr sz="2400" b="1" i="0">
                <a:solidFill>
                  <a:schemeClr val="tx2"/>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3" name="Picture 2" descr="A blue letter on a black background&#10;&#10;AI-generated content may be incorrect.">
            <a:extLst>
              <a:ext uri="{FF2B5EF4-FFF2-40B4-BE49-F238E27FC236}">
                <a16:creationId xmlns:a16="http://schemas.microsoft.com/office/drawing/2014/main" id="{94891007-97D0-2A4E-05ED-DAC46DEE1DC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2248470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o Image Quote (green)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3AAEAD-2200-F86F-E095-185701978C4F}"/>
              </a:ext>
            </a:extLst>
          </p:cNvPr>
          <p:cNvPicPr>
            <a:picLocks noChangeAspect="1"/>
          </p:cNvPicPr>
          <p:nvPr/>
        </p:nvPicPr>
        <p:blipFill>
          <a:blip r:embed="rId2"/>
          <a:stretch>
            <a:fillRect/>
          </a:stretch>
        </p:blipFill>
        <p:spPr>
          <a:xfrm>
            <a:off x="2895600" y="887335"/>
            <a:ext cx="930630" cy="826172"/>
          </a:xfrm>
          <a:prstGeom prst="rect">
            <a:avLst/>
          </a:prstGeom>
        </p:spPr>
      </p:pic>
      <p:sp>
        <p:nvSpPr>
          <p:cNvPr id="2" name="Text Placeholder 22">
            <a:extLst>
              <a:ext uri="{FF2B5EF4-FFF2-40B4-BE49-F238E27FC236}">
                <a16:creationId xmlns:a16="http://schemas.microsoft.com/office/drawing/2014/main" id="{96479183-2B5A-4BD4-0BAB-45D168D06071}"/>
              </a:ext>
            </a:extLst>
          </p:cNvPr>
          <p:cNvSpPr>
            <a:spLocks noGrp="1"/>
          </p:cNvSpPr>
          <p:nvPr>
            <p:ph type="body" sz="quarter" idx="16" hasCustomPrompt="1"/>
          </p:nvPr>
        </p:nvSpPr>
        <p:spPr>
          <a:xfrm>
            <a:off x="3175000" y="1423988"/>
            <a:ext cx="5676900" cy="1930400"/>
          </a:xfrm>
          <a:prstGeom prst="rect">
            <a:avLst/>
          </a:prstGeom>
        </p:spPr>
        <p:txBody>
          <a:bodyPr lIns="0" tIns="0" rIns="0" bIns="0"/>
          <a:lstStyle>
            <a:lvl1pPr marL="0" indent="0">
              <a:buNone/>
              <a:defRPr sz="2400" b="1" i="0">
                <a:solidFill>
                  <a:schemeClr val="tx2"/>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sp>
        <p:nvSpPr>
          <p:cNvPr id="6" name="Text Placeholder 12">
            <a:extLst>
              <a:ext uri="{FF2B5EF4-FFF2-40B4-BE49-F238E27FC236}">
                <a16:creationId xmlns:a16="http://schemas.microsoft.com/office/drawing/2014/main" id="{2D2A63C3-59FE-CEAB-24FE-894FD4A9E8CE}"/>
              </a:ext>
            </a:extLst>
          </p:cNvPr>
          <p:cNvSpPr>
            <a:spLocks noGrp="1"/>
          </p:cNvSpPr>
          <p:nvPr>
            <p:ph type="body" sz="quarter" idx="14" hasCustomPrompt="1"/>
          </p:nvPr>
        </p:nvSpPr>
        <p:spPr>
          <a:xfrm>
            <a:off x="3175000" y="4267200"/>
            <a:ext cx="2901950" cy="209550"/>
          </a:xfrm>
          <a:prstGeom prst="rect">
            <a:avLst/>
          </a:prstGeom>
          <a:noFill/>
        </p:spPr>
        <p:txBody>
          <a:bodyPr lIns="0" tIns="0" rIns="0" bIns="0"/>
          <a:lstStyle>
            <a:lvl1pPr marL="0" indent="0" fontAlgn="auto">
              <a:spcBef>
                <a:spcPts val="0"/>
              </a:spcBef>
              <a:buNone/>
              <a:defRPr sz="1400" b="1" i="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Graham McMahon, MD, MMSC</a:t>
            </a:r>
          </a:p>
        </p:txBody>
      </p:sp>
      <p:sp>
        <p:nvSpPr>
          <p:cNvPr id="7" name="Text Placeholder 12">
            <a:extLst>
              <a:ext uri="{FF2B5EF4-FFF2-40B4-BE49-F238E27FC236}">
                <a16:creationId xmlns:a16="http://schemas.microsoft.com/office/drawing/2014/main" id="{27739880-A0E2-51B6-36A9-EE9EE2198EC3}"/>
              </a:ext>
            </a:extLst>
          </p:cNvPr>
          <p:cNvSpPr>
            <a:spLocks noGrp="1"/>
          </p:cNvSpPr>
          <p:nvPr>
            <p:ph type="body" sz="quarter" idx="15" hasCustomPrompt="1"/>
          </p:nvPr>
        </p:nvSpPr>
        <p:spPr>
          <a:xfrm>
            <a:off x="3175000" y="4501198"/>
            <a:ext cx="2692400" cy="209550"/>
          </a:xfrm>
          <a:prstGeom prst="rect">
            <a:avLst/>
          </a:prstGeom>
          <a:noFill/>
        </p:spPr>
        <p:txBody>
          <a:bodyPr lIns="0" tIns="0" rIns="0" bIns="0"/>
          <a:lstStyle>
            <a:lvl1pPr marL="0" indent="0" fontAlgn="auto">
              <a:spcBef>
                <a:spcPts val="0"/>
              </a:spcBef>
              <a:buNone/>
              <a:defRPr sz="1200">
                <a:solidFill>
                  <a:schemeClr val="tx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President and CEO, ACCME</a:t>
            </a:r>
          </a:p>
        </p:txBody>
      </p:sp>
      <p:pic>
        <p:nvPicPr>
          <p:cNvPr id="3" name="Picture 2" descr="A blue letter on a black background&#10;&#10;AI-generated content may be incorrect.">
            <a:extLst>
              <a:ext uri="{FF2B5EF4-FFF2-40B4-BE49-F238E27FC236}">
                <a16:creationId xmlns:a16="http://schemas.microsoft.com/office/drawing/2014/main" id="{062ED480-0397-8641-73F3-273FE7872E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2011995391"/>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CCME Background Quo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Text Placeholder 12">
            <a:extLst>
              <a:ext uri="{FF2B5EF4-FFF2-40B4-BE49-F238E27FC236}">
                <a16:creationId xmlns:a16="http://schemas.microsoft.com/office/drawing/2014/main" id="{A5151C23-D9C8-F18A-4EC7-E6C4BCFA1A20}"/>
              </a:ext>
            </a:extLst>
          </p:cNvPr>
          <p:cNvSpPr>
            <a:spLocks noGrp="1"/>
          </p:cNvSpPr>
          <p:nvPr>
            <p:ph type="body" sz="quarter" idx="14" hasCustomPrompt="1"/>
          </p:nvPr>
        </p:nvSpPr>
        <p:spPr>
          <a:xfrm>
            <a:off x="3905250" y="4294482"/>
            <a:ext cx="3292454" cy="209550"/>
          </a:xfrm>
          <a:prstGeom prst="rect">
            <a:avLst/>
          </a:prstGeom>
        </p:spPr>
        <p:txBody>
          <a:bodyPr lIns="0" tIns="0" rIns="0" bIns="0"/>
          <a:lstStyle>
            <a:lvl1pPr marL="0" indent="0" fontAlgn="auto">
              <a:spcBef>
                <a:spcPts val="0"/>
              </a:spcBef>
              <a:buNone/>
              <a:defRPr sz="1400" b="1" i="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Name, Credential</a:t>
            </a:r>
          </a:p>
        </p:txBody>
      </p:sp>
      <p:sp>
        <p:nvSpPr>
          <p:cNvPr id="16" name="Text Placeholder 12">
            <a:extLst>
              <a:ext uri="{FF2B5EF4-FFF2-40B4-BE49-F238E27FC236}">
                <a16:creationId xmlns:a16="http://schemas.microsoft.com/office/drawing/2014/main" id="{DCEF4F83-E311-1BC0-5BA2-72B916738105}"/>
              </a:ext>
            </a:extLst>
          </p:cNvPr>
          <p:cNvSpPr>
            <a:spLocks noGrp="1"/>
          </p:cNvSpPr>
          <p:nvPr>
            <p:ph type="body" sz="quarter" idx="15" hasCustomPrompt="1"/>
          </p:nvPr>
        </p:nvSpPr>
        <p:spPr>
          <a:xfrm>
            <a:off x="3905250" y="4523082"/>
            <a:ext cx="3292454" cy="209550"/>
          </a:xfrm>
          <a:prstGeom prst="rect">
            <a:avLst/>
          </a:prstGeom>
        </p:spPr>
        <p:txBody>
          <a:bodyPr lIns="0" tIns="0" rIns="0" bIns="0"/>
          <a:lstStyle>
            <a:lvl1pPr marL="0" indent="0" fontAlgn="auto">
              <a:spcBef>
                <a:spcPts val="0"/>
              </a:spcBef>
              <a:buNone/>
              <a:defRPr sz="1200">
                <a:solidFill>
                  <a:schemeClr val="bg1"/>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Title, Organization</a:t>
            </a:r>
          </a:p>
        </p:txBody>
      </p:sp>
      <p:sp>
        <p:nvSpPr>
          <p:cNvPr id="2" name="Text Placeholder 22">
            <a:extLst>
              <a:ext uri="{FF2B5EF4-FFF2-40B4-BE49-F238E27FC236}">
                <a16:creationId xmlns:a16="http://schemas.microsoft.com/office/drawing/2014/main" id="{96479183-2B5A-4BD4-0BAB-45D168D06071}"/>
              </a:ext>
            </a:extLst>
          </p:cNvPr>
          <p:cNvSpPr>
            <a:spLocks noGrp="1"/>
          </p:cNvSpPr>
          <p:nvPr>
            <p:ph type="body" sz="quarter" idx="16" hasCustomPrompt="1"/>
          </p:nvPr>
        </p:nvSpPr>
        <p:spPr>
          <a:xfrm>
            <a:off x="3905250" y="1504951"/>
            <a:ext cx="4953000" cy="1930400"/>
          </a:xfrm>
          <a:prstGeom prst="rect">
            <a:avLst/>
          </a:prstGeom>
        </p:spPr>
        <p:txBody>
          <a:bodyPr lIns="0" tIns="0" rIns="0" bIns="0"/>
          <a:lstStyle>
            <a:lvl1pPr marL="0" indent="0">
              <a:buNone/>
              <a:defRPr sz="2400" b="0" i="0">
                <a:solidFill>
                  <a:schemeClr val="bg1"/>
                </a:solidFill>
                <a:latin typeface="Arial" panose="020B0604020202020204" pitchFamily="34" charset="0"/>
                <a:cs typeface="Arial" panose="020B0604020202020204" pitchFamily="34" charset="0"/>
              </a:defRPr>
            </a:lvl1pPr>
            <a:lvl2pPr marL="228588" indent="0">
              <a:buNone/>
              <a:defRPr sz="2400" b="1" i="0">
                <a:latin typeface="Manrope SemiBold" pitchFamily="2" charset="0"/>
              </a:defRPr>
            </a:lvl2pPr>
            <a:lvl3pPr marL="457178" indent="0">
              <a:buNone/>
              <a:defRPr sz="2400" b="1" i="0">
                <a:latin typeface="Manrope SemiBold" pitchFamily="2" charset="0"/>
              </a:defRPr>
            </a:lvl3pPr>
            <a:lvl4pPr marL="685766" indent="0">
              <a:buNone/>
              <a:defRPr sz="2400" b="1" i="0">
                <a:latin typeface="Manrope SemiBold" pitchFamily="2" charset="0"/>
              </a:defRPr>
            </a:lvl4pPr>
            <a:lvl5pPr marL="914355" indent="0">
              <a:buNone/>
              <a:defRPr sz="2400" b="1" i="0">
                <a:latin typeface="Manrope SemiBold"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quis</a:t>
            </a:r>
            <a:r>
              <a:rPr lang="en-US"/>
              <a:t> </a:t>
            </a:r>
            <a:r>
              <a:rPr lang="en-US" err="1"/>
              <a:t>urna</a:t>
            </a:r>
            <a:r>
              <a:rPr lang="en-US"/>
              <a:t> diam. Cras ac </a:t>
            </a:r>
            <a:r>
              <a:rPr lang="en-US" err="1"/>
              <a:t>purus</a:t>
            </a:r>
            <a:r>
              <a:rPr lang="en-US"/>
              <a:t> </a:t>
            </a:r>
            <a:r>
              <a:rPr lang="en-US" err="1"/>
              <a:t>neque</a:t>
            </a:r>
            <a:r>
              <a:rPr lang="en-US"/>
              <a:t>. </a:t>
            </a:r>
            <a:r>
              <a:rPr lang="en-US" err="1"/>
              <a:t>Praesent</a:t>
            </a:r>
            <a:r>
              <a:rPr lang="en-US"/>
              <a:t> </a:t>
            </a:r>
            <a:r>
              <a:rPr lang="en-US" err="1"/>
              <a:t>elementum</a:t>
            </a:r>
            <a:r>
              <a:rPr lang="en-US"/>
              <a:t> </a:t>
            </a:r>
            <a:r>
              <a:rPr lang="en-US" err="1"/>
              <a:t>rutrum</a:t>
            </a:r>
            <a:r>
              <a:rPr lang="en-US"/>
              <a:t> </a:t>
            </a:r>
            <a:r>
              <a:rPr lang="en-US" err="1"/>
              <a:t>finibus</a:t>
            </a:r>
            <a:r>
              <a:rPr lang="en-US"/>
              <a:t>. </a:t>
            </a:r>
          </a:p>
        </p:txBody>
      </p:sp>
      <p:pic>
        <p:nvPicPr>
          <p:cNvPr id="4" name="Picture 3" descr="A white letter on a black background&#10;&#10;AI-generated content may be incorrect.">
            <a:extLst>
              <a:ext uri="{FF2B5EF4-FFF2-40B4-BE49-F238E27FC236}">
                <a16:creationId xmlns:a16="http://schemas.microsoft.com/office/drawing/2014/main" id="{7A0312ED-3EA9-24CF-A532-08AE898404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3542433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chedule (create table)">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680025D-7EA8-447E-622D-3D9EC00FAE16}"/>
              </a:ext>
            </a:extLst>
          </p:cNvPr>
          <p:cNvSpPr txBox="1"/>
          <p:nvPr/>
        </p:nvSpPr>
        <p:spPr>
          <a:xfrm>
            <a:off x="4114801" y="2116068"/>
            <a:ext cx="65" cy="276999"/>
          </a:xfrm>
          <a:prstGeom prst="rect">
            <a:avLst/>
          </a:prstGeom>
          <a:noFill/>
        </p:spPr>
        <p:txBody>
          <a:bodyPr wrap="none" lIns="0" tIns="0" rIns="0" bIns="0" rtlCol="0">
            <a:spAutoFit/>
          </a:bodyPr>
          <a:lstStyle/>
          <a:p>
            <a:endParaRPr lang="en-US" sz="1800">
              <a:latin typeface="Arial" panose="020B0604020202020204" pitchFamily="34" charset="0"/>
              <a:cs typeface="Arial" panose="020B0604020202020204" pitchFamily="34" charset="0"/>
            </a:endParaRPr>
          </a:p>
        </p:txBody>
      </p:sp>
      <p:sp>
        <p:nvSpPr>
          <p:cNvPr id="25" name="Table Placeholder 24">
            <a:extLst>
              <a:ext uri="{FF2B5EF4-FFF2-40B4-BE49-F238E27FC236}">
                <a16:creationId xmlns:a16="http://schemas.microsoft.com/office/drawing/2014/main" id="{6115B776-1788-9E8A-C050-ADA0980A48CC}"/>
              </a:ext>
            </a:extLst>
          </p:cNvPr>
          <p:cNvSpPr>
            <a:spLocks noGrp="1"/>
          </p:cNvSpPr>
          <p:nvPr>
            <p:ph type="tbl" sz="quarter" idx="14"/>
          </p:nvPr>
        </p:nvSpPr>
        <p:spPr>
          <a:xfrm>
            <a:off x="291929" y="1233488"/>
            <a:ext cx="8572500" cy="3168650"/>
          </a:xfrm>
          <a:prstGeom prst="rect">
            <a:avLst/>
          </a:prstGeom>
        </p:spPr>
        <p:txBody>
          <a:bodyPr lIns="0" tIns="0" rIns="0" bIns="0"/>
          <a:lstStyle>
            <a:lvl1pPr>
              <a:defRPr>
                <a:latin typeface="Arial" panose="020B0604020202020204" pitchFamily="34" charset="0"/>
                <a:cs typeface="Arial" panose="020B0604020202020204" pitchFamily="34" charset="0"/>
              </a:defRPr>
            </a:lvl1pPr>
          </a:lstStyle>
          <a:p>
            <a:r>
              <a:rPr lang="en-US"/>
              <a:t>Click icon to add table</a:t>
            </a:r>
          </a:p>
        </p:txBody>
      </p:sp>
      <p:pic>
        <p:nvPicPr>
          <p:cNvPr id="3" name="Picture 2">
            <a:extLst>
              <a:ext uri="{FF2B5EF4-FFF2-40B4-BE49-F238E27FC236}">
                <a16:creationId xmlns:a16="http://schemas.microsoft.com/office/drawing/2014/main" id="{822F51E0-E231-566E-9F5D-B78EE928305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6" name="Title 9">
            <a:extLst>
              <a:ext uri="{FF2B5EF4-FFF2-40B4-BE49-F238E27FC236}">
                <a16:creationId xmlns:a16="http://schemas.microsoft.com/office/drawing/2014/main" id="{96B9F1AC-E1D5-FA26-7EA8-16A4F8AC9490}"/>
              </a:ext>
            </a:extLst>
          </p:cNvPr>
          <p:cNvSpPr>
            <a:spLocks noGrp="1"/>
          </p:cNvSpPr>
          <p:nvPr>
            <p:ph type="title" hasCustomPrompt="1"/>
          </p:nvPr>
        </p:nvSpPr>
        <p:spPr>
          <a:xfrm>
            <a:off x="285749" y="544678"/>
            <a:ext cx="8583614"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7" name="Rectangle 6">
            <a:extLst>
              <a:ext uri="{FF2B5EF4-FFF2-40B4-BE49-F238E27FC236}">
                <a16:creationId xmlns:a16="http://schemas.microsoft.com/office/drawing/2014/main" id="{6D987081-579C-C3B3-BC82-58F3008E8FA4}"/>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4">
            <a:extLst>
              <a:ext uri="{FF2B5EF4-FFF2-40B4-BE49-F238E27FC236}">
                <a16:creationId xmlns:a16="http://schemas.microsoft.com/office/drawing/2014/main" id="{5DD1429A-B254-D6B6-195D-A159BC378551}"/>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9511236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Rounded Quo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Rounded Corners 1" hidden="1">
            <a:extLst>
              <a:ext uri="{FF2B5EF4-FFF2-40B4-BE49-F238E27FC236}">
                <a16:creationId xmlns:a16="http://schemas.microsoft.com/office/drawing/2014/main" id="{DB77D4A3-C6B1-FC6A-6600-F6818225B257}"/>
              </a:ext>
            </a:extLst>
          </p:cNvPr>
          <p:cNvSpPr>
            <a:spLocks noGrp="1" noRot="1" noMove="1" noResize="1" noEditPoints="1" noAdjustHandles="1" noChangeArrowheads="1" noChangeShapeType="1"/>
          </p:cNvSpPr>
          <p:nvPr/>
        </p:nvSpPr>
        <p:spPr>
          <a:xfrm>
            <a:off x="4857750" y="-4436118"/>
            <a:ext cx="8572500" cy="4210343"/>
          </a:xfrm>
          <a:prstGeom prst="roundRect">
            <a:avLst>
              <a:gd name="adj" fmla="val 75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lnSpc>
                <a:spcPct val="120000"/>
              </a:lnSpc>
              <a:spcBef>
                <a:spcPts val="1200"/>
              </a:spcBef>
            </a:pPr>
            <a:r>
              <a:rPr lang="en-US" sz="1800" b="0" i="0">
                <a:solidFill>
                  <a:schemeClr val="tx1"/>
                </a:solidFill>
                <a:latin typeface="Arial" panose="020B0604020202020204" pitchFamily="34" charset="0"/>
              </a:rPr>
              <a:t>“The team that teaches each other and learns together performs better. Asking one team member to teach the rest of the group something relevant to the practice, even for five minutes, lets the team members be in charge of their own learning agenda, and creates an environment where we learn to appreciate what our colleagues can teach us.”</a:t>
            </a:r>
          </a:p>
          <a:p>
            <a:pPr lvl="0">
              <a:lnSpc>
                <a:spcPct val="120000"/>
              </a:lnSpc>
              <a:spcBef>
                <a:spcPts val="1200"/>
              </a:spcBef>
            </a:pPr>
            <a:r>
              <a:rPr lang="en-US" sz="1400" b="0" i="0">
                <a:solidFill>
                  <a:schemeClr val="tx1"/>
                </a:solidFill>
                <a:latin typeface="Arial" panose="020B0604020202020204" pitchFamily="34" charset="0"/>
              </a:rPr>
              <a:t>Graham McMahon, MD, MMSc</a:t>
            </a:r>
            <a:br>
              <a:rPr lang="en-US" sz="1400" b="0" i="0">
                <a:solidFill>
                  <a:schemeClr val="tx1"/>
                </a:solidFill>
                <a:latin typeface="Arial" panose="020B0604020202020204" pitchFamily="34" charset="0"/>
              </a:rPr>
            </a:br>
            <a:r>
              <a:rPr lang="en-US" sz="1400" b="0" i="0">
                <a:solidFill>
                  <a:schemeClr val="tx1"/>
                </a:solidFill>
                <a:latin typeface="Arial" panose="020B0604020202020204" pitchFamily="34" charset="0"/>
              </a:rPr>
              <a:t>President and CEO, ACCME</a:t>
            </a:r>
          </a:p>
        </p:txBody>
      </p:sp>
      <p:sp>
        <p:nvSpPr>
          <p:cNvPr id="8" name="Rounded Rectangle 7">
            <a:extLst>
              <a:ext uri="{FF2B5EF4-FFF2-40B4-BE49-F238E27FC236}">
                <a16:creationId xmlns:a16="http://schemas.microsoft.com/office/drawing/2014/main" id="{A72628BD-EE6C-7CF5-DDDC-55487E4FF06B}"/>
              </a:ext>
            </a:extLst>
          </p:cNvPr>
          <p:cNvSpPr/>
          <p:nvPr/>
        </p:nvSpPr>
        <p:spPr>
          <a:xfrm>
            <a:off x="285750" y="342901"/>
            <a:ext cx="8572500" cy="4210343"/>
          </a:xfrm>
          <a:prstGeom prst="roundRect">
            <a:avLst>
              <a:gd name="adj" fmla="val 56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20440" tIns="274320" rIns="731520" bIns="0" rtlCol="0" anchor="t" anchorCtr="0"/>
          <a:lstStyle/>
          <a:p>
            <a:pPr lvl="0">
              <a:lnSpc>
                <a:spcPct val="120000"/>
              </a:lnSpc>
              <a:spcBef>
                <a:spcPts val="1200"/>
              </a:spcBef>
            </a:pPr>
            <a:endParaRPr lang="en-US" sz="1400">
              <a:solidFill>
                <a:schemeClr val="tx1"/>
              </a:solidFill>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63010D08-3A2F-995A-7BE1-BFE4AC1EF61C}"/>
              </a:ext>
            </a:extLst>
          </p:cNvPr>
          <p:cNvSpPr>
            <a:spLocks noGrp="1"/>
          </p:cNvSpPr>
          <p:nvPr>
            <p:ph type="body" sz="quarter" idx="11" hasCustomPrompt="1"/>
          </p:nvPr>
        </p:nvSpPr>
        <p:spPr>
          <a:xfrm>
            <a:off x="3916539" y="701823"/>
            <a:ext cx="4343400" cy="2527300"/>
          </a:xfrm>
          <a:prstGeom prst="rect">
            <a:avLst/>
          </a:prstGeom>
        </p:spPr>
        <p:txBody>
          <a:bodyPr lIns="0" tIns="0" rIns="0" bIns="0"/>
          <a:lstStyle>
            <a:lvl1pPr marL="0" indent="0">
              <a:buNone/>
              <a:defRPr sz="1800" b="0" i="0">
                <a:latin typeface="Arial" panose="020B0604020202020204" pitchFamily="34" charset="0"/>
                <a:cs typeface="Arial" panose="020B0604020202020204" pitchFamily="34" charset="0"/>
              </a:defRPr>
            </a:lvl1pPr>
          </a:lstStyle>
          <a:p>
            <a:pPr lvl="0"/>
            <a:r>
              <a:rPr lang="en-US"/>
              <a:t>“Insert text here.”</a:t>
            </a:r>
          </a:p>
        </p:txBody>
      </p:sp>
      <p:sp>
        <p:nvSpPr>
          <p:cNvPr id="14" name="Text Placeholder 11">
            <a:extLst>
              <a:ext uri="{FF2B5EF4-FFF2-40B4-BE49-F238E27FC236}">
                <a16:creationId xmlns:a16="http://schemas.microsoft.com/office/drawing/2014/main" id="{34769EBC-37E0-6CC7-262A-90DFD677CA43}"/>
              </a:ext>
            </a:extLst>
          </p:cNvPr>
          <p:cNvSpPr>
            <a:spLocks noGrp="1"/>
          </p:cNvSpPr>
          <p:nvPr>
            <p:ph type="body" sz="quarter" idx="12" hasCustomPrompt="1"/>
          </p:nvPr>
        </p:nvSpPr>
        <p:spPr>
          <a:xfrm>
            <a:off x="3916539" y="3603067"/>
            <a:ext cx="4343400" cy="224366"/>
          </a:xfrm>
          <a:prstGeom prst="rect">
            <a:avLst/>
          </a:prstGeom>
        </p:spPr>
        <p:txBody>
          <a:bodyPr lIns="0" tIns="0" rIns="0" bIns="0"/>
          <a:lstStyle>
            <a:lvl1pPr marL="0" indent="0">
              <a:buNone/>
              <a:defRPr sz="1400" b="1" i="0">
                <a:latin typeface="Arial" panose="020B0604020202020204" pitchFamily="34" charset="0"/>
                <a:cs typeface="Arial" panose="020B0604020202020204" pitchFamily="34" charset="0"/>
              </a:defRPr>
            </a:lvl1pPr>
          </a:lstStyle>
          <a:p>
            <a:pPr lvl="0"/>
            <a:r>
              <a:rPr lang="en-US"/>
              <a:t>Name, Credential</a:t>
            </a:r>
          </a:p>
        </p:txBody>
      </p:sp>
      <p:sp>
        <p:nvSpPr>
          <p:cNvPr id="18" name="Text Placeholder 11">
            <a:extLst>
              <a:ext uri="{FF2B5EF4-FFF2-40B4-BE49-F238E27FC236}">
                <a16:creationId xmlns:a16="http://schemas.microsoft.com/office/drawing/2014/main" id="{A5CEC368-F8EE-9517-606E-E28CE603457B}"/>
              </a:ext>
            </a:extLst>
          </p:cNvPr>
          <p:cNvSpPr>
            <a:spLocks noGrp="1"/>
          </p:cNvSpPr>
          <p:nvPr>
            <p:ph type="body" sz="quarter" idx="13" hasCustomPrompt="1"/>
          </p:nvPr>
        </p:nvSpPr>
        <p:spPr>
          <a:xfrm>
            <a:off x="3916539" y="3862711"/>
            <a:ext cx="4343400" cy="224366"/>
          </a:xfrm>
          <a:prstGeom prst="rect">
            <a:avLst/>
          </a:prstGeom>
        </p:spPr>
        <p:txBody>
          <a:bodyPr lIns="0" tIns="0" rIns="0" bIns="0"/>
          <a:lstStyle>
            <a:lvl1pPr marL="0" indent="0">
              <a:buNone/>
              <a:defRPr sz="1400" b="0">
                <a:latin typeface="Arial" panose="020B0604020202020204" pitchFamily="34" charset="0"/>
                <a:cs typeface="Arial" panose="020B0604020202020204" pitchFamily="34" charset="0"/>
              </a:defRPr>
            </a:lvl1pPr>
          </a:lstStyle>
          <a:p>
            <a:pPr lvl="0"/>
            <a:r>
              <a:rPr lang="en-US"/>
              <a:t>Title, Organization</a:t>
            </a:r>
          </a:p>
        </p:txBody>
      </p:sp>
      <p:sp>
        <p:nvSpPr>
          <p:cNvPr id="21" name="Picture Placeholder 20">
            <a:extLst>
              <a:ext uri="{FF2B5EF4-FFF2-40B4-BE49-F238E27FC236}">
                <a16:creationId xmlns:a16="http://schemas.microsoft.com/office/drawing/2014/main" id="{1ABFDDD4-6FCE-AA7E-9A95-0E6B2631D962}"/>
              </a:ext>
            </a:extLst>
          </p:cNvPr>
          <p:cNvSpPr>
            <a:spLocks noGrp="1"/>
          </p:cNvSpPr>
          <p:nvPr>
            <p:ph type="pic" sz="quarter" idx="14" hasCustomPrompt="1"/>
          </p:nvPr>
        </p:nvSpPr>
        <p:spPr>
          <a:xfrm>
            <a:off x="721729" y="701821"/>
            <a:ext cx="2715800" cy="3494088"/>
          </a:xfrm>
          <a:prstGeom prst="roundRect">
            <a:avLst>
              <a:gd name="adj" fmla="val 7945"/>
            </a:avLst>
          </a:prstGeom>
          <a:solidFill>
            <a:schemeClr val="bg1">
              <a:lumMod val="95000"/>
            </a:schemeClr>
          </a:solidFill>
        </p:spPr>
        <p:txBody>
          <a:bodyPr anchor="ctr" anchorCtr="0"/>
          <a:lstStyle>
            <a:lvl1pPr marL="0" indent="0">
              <a:buNone/>
              <a:defRPr>
                <a:latin typeface="Arial" panose="020B0604020202020204" pitchFamily="34" charset="0"/>
                <a:cs typeface="Arial" panose="020B0604020202020204" pitchFamily="34" charset="0"/>
              </a:defRPr>
            </a:lvl1pPr>
          </a:lstStyle>
          <a:p>
            <a:pPr marL="171442" marR="0" lvl="0" indent="-171442" algn="l" defTabSz="457178" rtl="0" eaLnBrk="1" fontAlgn="auto" latinLnBrk="0" hangingPunct="1">
              <a:lnSpc>
                <a:spcPct val="100000"/>
              </a:lnSpc>
              <a:spcBef>
                <a:spcPct val="20000"/>
              </a:spcBef>
              <a:spcAft>
                <a:spcPts val="0"/>
              </a:spcAft>
              <a:buClrTx/>
              <a:buSzTx/>
              <a:buFont typeface="Arial" pitchFamily="34" charset="0"/>
              <a:buChar char="•"/>
              <a:tabLst/>
              <a:defRPr/>
            </a:pPr>
            <a:r>
              <a:rPr lang="en-US"/>
              <a:t>Go to Format &gt; Fill &gt; Picture and upload a photo.</a:t>
            </a:r>
          </a:p>
        </p:txBody>
      </p:sp>
      <p:pic>
        <p:nvPicPr>
          <p:cNvPr id="4" name="Picture 3" descr="A white letter on a black background&#10;&#10;AI-generated content may be incorrect.">
            <a:extLst>
              <a:ext uri="{FF2B5EF4-FFF2-40B4-BE49-F238E27FC236}">
                <a16:creationId xmlns:a16="http://schemas.microsoft.com/office/drawing/2014/main" id="{BD0F122A-D7B1-7327-F649-94EFFCD1E1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87201" y="4705684"/>
            <a:ext cx="877229" cy="164480"/>
          </a:xfrm>
          <a:prstGeom prst="rect">
            <a:avLst/>
          </a:prstGeom>
        </p:spPr>
      </p:pic>
    </p:spTree>
    <p:extLst>
      <p:ext uri="{BB962C8B-B14F-4D97-AF65-F5344CB8AC3E}">
        <p14:creationId xmlns:p14="http://schemas.microsoft.com/office/powerpoint/2010/main" val="913383248"/>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Numbers with Photo">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C55E19B-1CCD-6CB2-7656-27AB12D114A4}"/>
              </a:ext>
            </a:extLst>
          </p:cNvPr>
          <p:cNvSpPr>
            <a:spLocks noGrp="1"/>
          </p:cNvSpPr>
          <p:nvPr>
            <p:ph type="pic" sz="quarter" idx="10"/>
          </p:nvPr>
        </p:nvSpPr>
        <p:spPr>
          <a:xfrm>
            <a:off x="4629150" y="0"/>
            <a:ext cx="4514850" cy="5143500"/>
          </a:xfrm>
          <a:custGeom>
            <a:avLst/>
            <a:gdLst>
              <a:gd name="connsiteX0" fmla="*/ 0 w 9029700"/>
              <a:gd name="connsiteY0" fmla="*/ 0 h 10287000"/>
              <a:gd name="connsiteX1" fmla="*/ 9029700 w 9029700"/>
              <a:gd name="connsiteY1" fmla="*/ 0 h 10287000"/>
              <a:gd name="connsiteX2" fmla="*/ 9029700 w 9029700"/>
              <a:gd name="connsiteY2" fmla="*/ 10287000 h 10287000"/>
              <a:gd name="connsiteX3" fmla="*/ 0 w 90297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9029700" h="10287000">
                <a:moveTo>
                  <a:pt x="0" y="0"/>
                </a:moveTo>
                <a:lnTo>
                  <a:pt x="9029700" y="0"/>
                </a:lnTo>
                <a:lnTo>
                  <a:pt x="9029700" y="10287000"/>
                </a:lnTo>
                <a:lnTo>
                  <a:pt x="0" y="10287000"/>
                </a:lnTo>
                <a:close/>
              </a:path>
            </a:pathLst>
          </a:custGeom>
          <a:solidFill>
            <a:schemeClr val="tx2"/>
          </a:solidFill>
        </p:spPr>
        <p:txBody>
          <a:bodyPr wrap="square">
            <a:noAutofit/>
          </a:bodyPr>
          <a:lstStyle>
            <a:lvl1pPr>
              <a:defRPr sz="1400">
                <a:latin typeface="Arial" panose="020B0604020202020204" pitchFamily="34" charset="0"/>
                <a:cs typeface="Arial" panose="020B0604020202020204" pitchFamily="34" charset="0"/>
              </a:defRPr>
            </a:lvl1pPr>
          </a:lstStyle>
          <a:p>
            <a:r>
              <a:rPr lang="en-US"/>
              <a:t>Click icon to add picture</a:t>
            </a:r>
          </a:p>
        </p:txBody>
      </p:sp>
      <p:sp>
        <p:nvSpPr>
          <p:cNvPr id="24" name="Text Placeholder 14">
            <a:extLst>
              <a:ext uri="{FF2B5EF4-FFF2-40B4-BE49-F238E27FC236}">
                <a16:creationId xmlns:a16="http://schemas.microsoft.com/office/drawing/2014/main" id="{276C5496-E3BA-C24A-CDAD-67222D0A1CEF}"/>
              </a:ext>
            </a:extLst>
          </p:cNvPr>
          <p:cNvSpPr>
            <a:spLocks noGrp="1"/>
          </p:cNvSpPr>
          <p:nvPr>
            <p:ph type="body" sz="quarter" idx="13" hasCustomPrompt="1"/>
          </p:nvPr>
        </p:nvSpPr>
        <p:spPr>
          <a:xfrm>
            <a:off x="285750" y="555631"/>
            <a:ext cx="4133849" cy="384170"/>
          </a:xfrm>
          <a:prstGeom prst="rect">
            <a:avLst/>
          </a:prstGeom>
        </p:spPr>
        <p:txBody>
          <a:bodyPr lIns="0" tIns="0" rIns="0" bIns="0" anchor="t" anchorCtr="0"/>
          <a:lstStyle>
            <a:lvl1pPr marL="0" indent="0">
              <a:buNone/>
              <a:defRPr sz="2400" b="1" i="0">
                <a:solidFill>
                  <a:schemeClr val="tx2"/>
                </a:solidFill>
                <a:latin typeface="Arial" panose="020B0604020202020204" pitchFamily="34" charset="0"/>
                <a:cs typeface="Arial" panose="020B0604020202020204" pitchFamily="34" charset="0"/>
              </a:defRPr>
            </a:lvl1pPr>
            <a:lvl2pPr>
              <a:defRPr sz="3000" b="1" i="0">
                <a:latin typeface="Manrope SemiBold" pitchFamily="2" charset="0"/>
              </a:defRPr>
            </a:lvl2pPr>
            <a:lvl3pPr>
              <a:defRPr sz="3000" b="1" i="0">
                <a:latin typeface="Manrope SemiBold" pitchFamily="2" charset="0"/>
              </a:defRPr>
            </a:lvl3pPr>
            <a:lvl4pPr>
              <a:defRPr sz="3000" b="1" i="0">
                <a:latin typeface="Manrope SemiBold" pitchFamily="2" charset="0"/>
              </a:defRPr>
            </a:lvl4pPr>
            <a:lvl5pPr>
              <a:defRPr sz="3000" b="1" i="0">
                <a:latin typeface="Manrope SemiBold" pitchFamily="2" charset="0"/>
              </a:defRPr>
            </a:lvl5pPr>
          </a:lstStyle>
          <a:p>
            <a:pPr lvl="0"/>
            <a:r>
              <a:rPr lang="en-US"/>
              <a:t>Slide Title</a:t>
            </a:r>
          </a:p>
        </p:txBody>
      </p:sp>
      <p:sp>
        <p:nvSpPr>
          <p:cNvPr id="26" name="Text Placeholder 25">
            <a:extLst>
              <a:ext uri="{FF2B5EF4-FFF2-40B4-BE49-F238E27FC236}">
                <a16:creationId xmlns:a16="http://schemas.microsoft.com/office/drawing/2014/main" id="{0BCA8A2A-8F8D-D7EF-08F3-10D6284A7369}"/>
              </a:ext>
            </a:extLst>
          </p:cNvPr>
          <p:cNvSpPr>
            <a:spLocks noGrp="1"/>
          </p:cNvSpPr>
          <p:nvPr>
            <p:ph type="body" sz="quarter" idx="14" hasCustomPrompt="1"/>
          </p:nvPr>
        </p:nvSpPr>
        <p:spPr>
          <a:xfrm>
            <a:off x="294578" y="1216886"/>
            <a:ext cx="318378" cy="320440"/>
          </a:xfrm>
          <a:prstGeom prst="ellipse">
            <a:avLst/>
          </a:prstGeom>
          <a:solidFill>
            <a:schemeClr val="accent1"/>
          </a:solidFill>
        </p:spPr>
        <p:txBody>
          <a:bodyPr lIns="0" tIns="0" rIns="0" bIns="0" anchor="ctr" anchorCtr="0"/>
          <a:lstStyle>
            <a:lvl1pPr marL="0" indent="0" algn="ctr">
              <a:buNone/>
              <a:defRPr sz="1200" b="1" i="0">
                <a:latin typeface="Arial" panose="020B0604020202020204" pitchFamily="34" charset="0"/>
                <a:cs typeface="Arial" panose="020B0604020202020204" pitchFamily="34" charset="0"/>
              </a:defRPr>
            </a:lvl1pPr>
          </a:lstStyle>
          <a:p>
            <a:pPr lvl="0"/>
            <a:r>
              <a:rPr lang="en-US"/>
              <a:t>01</a:t>
            </a:r>
          </a:p>
        </p:txBody>
      </p:sp>
      <p:sp>
        <p:nvSpPr>
          <p:cNvPr id="28" name="Text Placeholder 27">
            <a:extLst>
              <a:ext uri="{FF2B5EF4-FFF2-40B4-BE49-F238E27FC236}">
                <a16:creationId xmlns:a16="http://schemas.microsoft.com/office/drawing/2014/main" id="{9CBE25EF-EE3D-1729-2217-D3E667D01EC9}"/>
              </a:ext>
            </a:extLst>
          </p:cNvPr>
          <p:cNvSpPr>
            <a:spLocks noGrp="1"/>
          </p:cNvSpPr>
          <p:nvPr>
            <p:ph type="body" sz="quarter" idx="15" hasCustomPrompt="1"/>
          </p:nvPr>
        </p:nvSpPr>
        <p:spPr>
          <a:xfrm>
            <a:off x="899877" y="1257608"/>
            <a:ext cx="3524248" cy="166380"/>
          </a:xfrm>
          <a:prstGeom prst="rect">
            <a:avLst/>
          </a:prstGeom>
        </p:spPr>
        <p:txBody>
          <a:bodyPr lIns="0" tIns="0" rIns="0" bIns="0"/>
          <a:lstStyle>
            <a:lvl1pPr marL="0" indent="0">
              <a:buNone/>
              <a:defRPr sz="1400" b="1" i="0">
                <a:solidFill>
                  <a:schemeClr val="accent2"/>
                </a:solidFill>
                <a:latin typeface="Arial" panose="020B0604020202020204" pitchFamily="34" charset="0"/>
                <a:cs typeface="Arial" panose="020B0604020202020204" pitchFamily="34" charset="0"/>
              </a:defRPr>
            </a:lvl1pPr>
          </a:lstStyle>
          <a:p>
            <a:pPr lvl="0"/>
            <a:r>
              <a:rPr lang="en-US"/>
              <a:t>Title</a:t>
            </a:r>
          </a:p>
        </p:txBody>
      </p:sp>
      <p:sp>
        <p:nvSpPr>
          <p:cNvPr id="29" name="Text Placeholder 27">
            <a:extLst>
              <a:ext uri="{FF2B5EF4-FFF2-40B4-BE49-F238E27FC236}">
                <a16:creationId xmlns:a16="http://schemas.microsoft.com/office/drawing/2014/main" id="{60BC4ABB-7410-6212-FEAD-A2E4D6C0B008}"/>
              </a:ext>
            </a:extLst>
          </p:cNvPr>
          <p:cNvSpPr>
            <a:spLocks noGrp="1"/>
          </p:cNvSpPr>
          <p:nvPr>
            <p:ph type="body" sz="quarter" idx="16" hasCustomPrompt="1"/>
          </p:nvPr>
        </p:nvSpPr>
        <p:spPr>
          <a:xfrm>
            <a:off x="899877" y="1629084"/>
            <a:ext cx="3524248" cy="488347"/>
          </a:xfrm>
          <a:prstGeom prst="rect">
            <a:avLst/>
          </a:prstGeom>
        </p:spPr>
        <p:txBody>
          <a:bodyPr lIns="0" tIns="0" rIns="0" bIns="0"/>
          <a:lstStyle>
            <a:lvl1pPr marL="0" indent="0">
              <a:buNone/>
              <a:defRPr sz="1400" b="0" i="0">
                <a:latin typeface="Arial" panose="020B0604020202020204" pitchFamily="34" charset="0"/>
                <a:cs typeface="Arial" panose="020B0604020202020204" pitchFamily="34" charset="0"/>
              </a:defRPr>
            </a:lvl1pPr>
          </a:lstStyle>
          <a:p>
            <a:pPr lvl="0"/>
            <a:r>
              <a:rPr lang="en-US"/>
              <a:t>Body Copy</a:t>
            </a:r>
          </a:p>
        </p:txBody>
      </p:sp>
      <p:sp>
        <p:nvSpPr>
          <p:cNvPr id="30" name="Text Placeholder 25">
            <a:extLst>
              <a:ext uri="{FF2B5EF4-FFF2-40B4-BE49-F238E27FC236}">
                <a16:creationId xmlns:a16="http://schemas.microsoft.com/office/drawing/2014/main" id="{EE9B0170-170D-9930-FAEC-B569B3DC58F6}"/>
              </a:ext>
            </a:extLst>
          </p:cNvPr>
          <p:cNvSpPr>
            <a:spLocks noGrp="1"/>
          </p:cNvSpPr>
          <p:nvPr>
            <p:ph type="body" sz="quarter" idx="17" hasCustomPrompt="1"/>
          </p:nvPr>
        </p:nvSpPr>
        <p:spPr>
          <a:xfrm>
            <a:off x="294578" y="2183838"/>
            <a:ext cx="318378" cy="320440"/>
          </a:xfrm>
          <a:prstGeom prst="ellipse">
            <a:avLst/>
          </a:prstGeom>
          <a:solidFill>
            <a:schemeClr val="accent1"/>
          </a:solidFill>
        </p:spPr>
        <p:txBody>
          <a:bodyPr lIns="0" tIns="0" rIns="0" bIns="0" anchor="ctr" anchorCtr="0"/>
          <a:lstStyle>
            <a:lvl1pPr marL="0" indent="0" algn="ctr">
              <a:buNone/>
              <a:defRPr sz="1200" b="1" i="0">
                <a:latin typeface="Arial" panose="020B0604020202020204" pitchFamily="34" charset="0"/>
                <a:cs typeface="Arial" panose="020B0604020202020204" pitchFamily="34" charset="0"/>
              </a:defRPr>
            </a:lvl1pPr>
          </a:lstStyle>
          <a:p>
            <a:pPr lvl="0"/>
            <a:r>
              <a:rPr lang="en-US"/>
              <a:t>02</a:t>
            </a:r>
          </a:p>
        </p:txBody>
      </p:sp>
      <p:sp>
        <p:nvSpPr>
          <p:cNvPr id="31" name="Text Placeholder 27">
            <a:extLst>
              <a:ext uri="{FF2B5EF4-FFF2-40B4-BE49-F238E27FC236}">
                <a16:creationId xmlns:a16="http://schemas.microsoft.com/office/drawing/2014/main" id="{5B5825F0-B9BE-C1EA-2013-638FDA426C16}"/>
              </a:ext>
            </a:extLst>
          </p:cNvPr>
          <p:cNvSpPr>
            <a:spLocks noGrp="1"/>
          </p:cNvSpPr>
          <p:nvPr>
            <p:ph type="body" sz="quarter" idx="18" hasCustomPrompt="1"/>
          </p:nvPr>
        </p:nvSpPr>
        <p:spPr>
          <a:xfrm>
            <a:off x="899877" y="2224559"/>
            <a:ext cx="3524248" cy="166380"/>
          </a:xfrm>
          <a:prstGeom prst="rect">
            <a:avLst/>
          </a:prstGeom>
        </p:spPr>
        <p:txBody>
          <a:bodyPr lIns="0" tIns="0" rIns="0" bIns="0"/>
          <a:lstStyle>
            <a:lvl1pPr marL="0" indent="0">
              <a:buNone/>
              <a:defRPr sz="1400" b="1" i="0">
                <a:solidFill>
                  <a:schemeClr val="accent2"/>
                </a:solidFill>
                <a:latin typeface="Arial" panose="020B0604020202020204" pitchFamily="34" charset="0"/>
                <a:cs typeface="Arial" panose="020B0604020202020204" pitchFamily="34" charset="0"/>
              </a:defRPr>
            </a:lvl1pPr>
          </a:lstStyle>
          <a:p>
            <a:pPr lvl="0"/>
            <a:r>
              <a:rPr lang="en-US"/>
              <a:t>Title</a:t>
            </a:r>
          </a:p>
        </p:txBody>
      </p:sp>
      <p:sp>
        <p:nvSpPr>
          <p:cNvPr id="33" name="Text Placeholder 25">
            <a:extLst>
              <a:ext uri="{FF2B5EF4-FFF2-40B4-BE49-F238E27FC236}">
                <a16:creationId xmlns:a16="http://schemas.microsoft.com/office/drawing/2014/main" id="{E37B040C-7707-2B0C-BE37-0045AE04A83C}"/>
              </a:ext>
            </a:extLst>
          </p:cNvPr>
          <p:cNvSpPr>
            <a:spLocks noGrp="1"/>
          </p:cNvSpPr>
          <p:nvPr>
            <p:ph type="body" sz="quarter" idx="20" hasCustomPrompt="1"/>
          </p:nvPr>
        </p:nvSpPr>
        <p:spPr>
          <a:xfrm>
            <a:off x="294578" y="3140277"/>
            <a:ext cx="318378" cy="320440"/>
          </a:xfrm>
          <a:prstGeom prst="ellipse">
            <a:avLst/>
          </a:prstGeom>
          <a:solidFill>
            <a:schemeClr val="accent1"/>
          </a:solidFill>
        </p:spPr>
        <p:txBody>
          <a:bodyPr lIns="0" tIns="0" rIns="0" bIns="0" anchor="ctr" anchorCtr="0"/>
          <a:lstStyle>
            <a:lvl1pPr marL="0" indent="0" algn="ctr">
              <a:buNone/>
              <a:defRPr sz="1200" b="1" i="0">
                <a:latin typeface="Arial" panose="020B0604020202020204" pitchFamily="34" charset="0"/>
                <a:cs typeface="Arial" panose="020B0604020202020204" pitchFamily="34" charset="0"/>
              </a:defRPr>
            </a:lvl1pPr>
          </a:lstStyle>
          <a:p>
            <a:pPr lvl="0"/>
            <a:r>
              <a:rPr lang="en-US"/>
              <a:t>03</a:t>
            </a:r>
          </a:p>
        </p:txBody>
      </p:sp>
      <p:sp>
        <p:nvSpPr>
          <p:cNvPr id="34" name="Text Placeholder 27">
            <a:extLst>
              <a:ext uri="{FF2B5EF4-FFF2-40B4-BE49-F238E27FC236}">
                <a16:creationId xmlns:a16="http://schemas.microsoft.com/office/drawing/2014/main" id="{0E0ABF11-CB2C-F92E-D98A-0A3CCD60F610}"/>
              </a:ext>
            </a:extLst>
          </p:cNvPr>
          <p:cNvSpPr>
            <a:spLocks noGrp="1"/>
          </p:cNvSpPr>
          <p:nvPr>
            <p:ph type="body" sz="quarter" idx="21" hasCustomPrompt="1"/>
          </p:nvPr>
        </p:nvSpPr>
        <p:spPr>
          <a:xfrm>
            <a:off x="899877" y="3181000"/>
            <a:ext cx="3524248" cy="166380"/>
          </a:xfrm>
          <a:prstGeom prst="rect">
            <a:avLst/>
          </a:prstGeom>
        </p:spPr>
        <p:txBody>
          <a:bodyPr lIns="0" tIns="0" rIns="0" bIns="0"/>
          <a:lstStyle>
            <a:lvl1pPr marL="0" indent="0">
              <a:buNone/>
              <a:defRPr sz="1400" b="1" i="0">
                <a:solidFill>
                  <a:schemeClr val="accent2"/>
                </a:solidFill>
                <a:latin typeface="Arial" panose="020B0604020202020204" pitchFamily="34" charset="0"/>
                <a:cs typeface="Arial" panose="020B0604020202020204" pitchFamily="34" charset="0"/>
              </a:defRPr>
            </a:lvl1pPr>
          </a:lstStyle>
          <a:p>
            <a:pPr lvl="0"/>
            <a:r>
              <a:rPr lang="en-US"/>
              <a:t>Title</a:t>
            </a:r>
          </a:p>
        </p:txBody>
      </p:sp>
      <p:sp>
        <p:nvSpPr>
          <p:cNvPr id="36" name="Text Placeholder 27">
            <a:extLst>
              <a:ext uri="{FF2B5EF4-FFF2-40B4-BE49-F238E27FC236}">
                <a16:creationId xmlns:a16="http://schemas.microsoft.com/office/drawing/2014/main" id="{CF309482-0D63-AFD7-E501-431F1BD7F193}"/>
              </a:ext>
            </a:extLst>
          </p:cNvPr>
          <p:cNvSpPr>
            <a:spLocks noGrp="1"/>
          </p:cNvSpPr>
          <p:nvPr>
            <p:ph type="body" sz="quarter" idx="23" hasCustomPrompt="1"/>
          </p:nvPr>
        </p:nvSpPr>
        <p:spPr>
          <a:xfrm>
            <a:off x="899877" y="2592345"/>
            <a:ext cx="3524248" cy="488347"/>
          </a:xfrm>
          <a:prstGeom prst="rect">
            <a:avLst/>
          </a:prstGeom>
        </p:spPr>
        <p:txBody>
          <a:bodyPr lIns="0" tIns="0" rIns="0" bIns="0"/>
          <a:lstStyle>
            <a:lvl1pPr marL="0" indent="0">
              <a:buNone/>
              <a:defRPr sz="1400" b="0" i="0">
                <a:latin typeface="Arial" panose="020B0604020202020204" pitchFamily="34" charset="0"/>
                <a:cs typeface="Arial" panose="020B0604020202020204" pitchFamily="34" charset="0"/>
              </a:defRPr>
            </a:lvl1pPr>
          </a:lstStyle>
          <a:p>
            <a:pPr lvl="0"/>
            <a:r>
              <a:rPr lang="en-US"/>
              <a:t>Body Copy</a:t>
            </a:r>
          </a:p>
        </p:txBody>
      </p:sp>
      <p:sp>
        <p:nvSpPr>
          <p:cNvPr id="37" name="Text Placeholder 27">
            <a:extLst>
              <a:ext uri="{FF2B5EF4-FFF2-40B4-BE49-F238E27FC236}">
                <a16:creationId xmlns:a16="http://schemas.microsoft.com/office/drawing/2014/main" id="{72A09627-4C48-4497-DD39-FA2564F38714}"/>
              </a:ext>
            </a:extLst>
          </p:cNvPr>
          <p:cNvSpPr>
            <a:spLocks noGrp="1"/>
          </p:cNvSpPr>
          <p:nvPr>
            <p:ph type="body" sz="quarter" idx="24" hasCustomPrompt="1"/>
          </p:nvPr>
        </p:nvSpPr>
        <p:spPr>
          <a:xfrm>
            <a:off x="899877" y="3548625"/>
            <a:ext cx="3524248" cy="488347"/>
          </a:xfrm>
          <a:prstGeom prst="rect">
            <a:avLst/>
          </a:prstGeom>
        </p:spPr>
        <p:txBody>
          <a:bodyPr lIns="0" tIns="0" rIns="0" bIns="0"/>
          <a:lstStyle>
            <a:lvl1pPr marL="0" indent="0">
              <a:buNone/>
              <a:defRPr sz="1400" b="0" i="0">
                <a:latin typeface="Arial" panose="020B0604020202020204" pitchFamily="34" charset="0"/>
                <a:cs typeface="Arial" panose="020B0604020202020204" pitchFamily="34" charset="0"/>
              </a:defRPr>
            </a:lvl1pPr>
          </a:lstStyle>
          <a:p>
            <a:pPr lvl="0"/>
            <a:r>
              <a:rPr lang="en-US"/>
              <a:t>Body Copy</a:t>
            </a:r>
          </a:p>
        </p:txBody>
      </p:sp>
      <p:sp>
        <p:nvSpPr>
          <p:cNvPr id="3" name="Text Placeholder 8">
            <a:extLst>
              <a:ext uri="{FF2B5EF4-FFF2-40B4-BE49-F238E27FC236}">
                <a16:creationId xmlns:a16="http://schemas.microsoft.com/office/drawing/2014/main" id="{10A91ACB-7A03-1C2E-FA69-9F852DACC630}"/>
              </a:ext>
            </a:extLst>
          </p:cNvPr>
          <p:cNvSpPr>
            <a:spLocks noGrp="1"/>
          </p:cNvSpPr>
          <p:nvPr>
            <p:ph type="body" sz="quarter" idx="25"/>
          </p:nvPr>
        </p:nvSpPr>
        <p:spPr>
          <a:xfrm>
            <a:off x="7985126"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0">
                <a:latin typeface="Arial" panose="020B0604020202020204" pitchFamily="34" charset="0"/>
                <a:cs typeface="Arial" panose="020B0604020202020204" pitchFamily="34" charset="0"/>
              </a:defRPr>
            </a:lvl1pPr>
          </a:lstStyle>
          <a:p>
            <a:pPr lvl="0"/>
            <a:r>
              <a:rPr lang="en-US"/>
              <a:t>Click to edit Master text styles</a:t>
            </a:r>
          </a:p>
        </p:txBody>
      </p:sp>
      <p:sp>
        <p:nvSpPr>
          <p:cNvPr id="2" name="Text Placeholder 4">
            <a:extLst>
              <a:ext uri="{FF2B5EF4-FFF2-40B4-BE49-F238E27FC236}">
                <a16:creationId xmlns:a16="http://schemas.microsoft.com/office/drawing/2014/main" id="{15A0036F-4732-4CD3-A81B-7876CB554EBD}"/>
              </a:ext>
            </a:extLst>
          </p:cNvPr>
          <p:cNvSpPr>
            <a:spLocks noGrp="1"/>
          </p:cNvSpPr>
          <p:nvPr>
            <p:ph type="body" sz="quarter" idx="11" hasCustomPrompt="1"/>
          </p:nvPr>
        </p:nvSpPr>
        <p:spPr>
          <a:xfrm>
            <a:off x="285749" y="320647"/>
            <a:ext cx="413384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808132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ocial">
    <p:bg>
      <p:bgPr>
        <a:solidFill>
          <a:schemeClr val="bg2"/>
        </a:solidFill>
        <a:effectLst/>
      </p:bgPr>
    </p:bg>
    <p:spTree>
      <p:nvGrpSpPr>
        <p:cNvPr id="1" name=""/>
        <p:cNvGrpSpPr/>
        <p:nvPr/>
      </p:nvGrpSpPr>
      <p:grpSpPr>
        <a:xfrm>
          <a:off x="0" y="0"/>
          <a:ext cx="0" cy="0"/>
          <a:chOff x="0" y="0"/>
          <a:chExt cx="0" cy="0"/>
        </a:xfrm>
      </p:grpSpPr>
      <p:sp>
        <p:nvSpPr>
          <p:cNvPr id="3" name="Rectangle: Rounded Corners 1" hidden="1">
            <a:extLst>
              <a:ext uri="{FF2B5EF4-FFF2-40B4-BE49-F238E27FC236}">
                <a16:creationId xmlns:a16="http://schemas.microsoft.com/office/drawing/2014/main" id="{DB77D4A3-C6B1-FC6A-6600-F6818225B257}"/>
              </a:ext>
            </a:extLst>
          </p:cNvPr>
          <p:cNvSpPr>
            <a:spLocks noGrp="1" noRot="1" noMove="1" noResize="1" noEditPoints="1" noAdjustHandles="1" noChangeArrowheads="1" noChangeShapeType="1"/>
          </p:cNvSpPr>
          <p:nvPr/>
        </p:nvSpPr>
        <p:spPr>
          <a:xfrm>
            <a:off x="4857750" y="-4436118"/>
            <a:ext cx="8572500" cy="4210343"/>
          </a:xfrm>
          <a:prstGeom prst="roundRect">
            <a:avLst>
              <a:gd name="adj" fmla="val 75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lnSpc>
                <a:spcPct val="120000"/>
              </a:lnSpc>
              <a:spcBef>
                <a:spcPts val="1200"/>
              </a:spcBef>
            </a:pPr>
            <a:r>
              <a:rPr lang="en-US" sz="1800" b="0" i="0">
                <a:solidFill>
                  <a:schemeClr val="tx1"/>
                </a:solidFill>
                <a:latin typeface="Arial" panose="020B0604020202020204" pitchFamily="34" charset="0"/>
              </a:rPr>
              <a:t>“The team that teaches each other and learns together performs better. Asking one team member to teach the rest of the group something relevant to the practice, even for five minutes, lets the team members be in charge of their own learning agenda, and creates an environment where we learn to appreciate what our colleagues can teach us.”</a:t>
            </a:r>
          </a:p>
          <a:p>
            <a:pPr lvl="0">
              <a:lnSpc>
                <a:spcPct val="120000"/>
              </a:lnSpc>
              <a:spcBef>
                <a:spcPts val="1200"/>
              </a:spcBef>
            </a:pPr>
            <a:r>
              <a:rPr lang="en-US" sz="1400" b="0" i="0">
                <a:solidFill>
                  <a:schemeClr val="tx1"/>
                </a:solidFill>
                <a:latin typeface="Arial" panose="020B0604020202020204" pitchFamily="34" charset="0"/>
              </a:rPr>
              <a:t>Graham McMahon, MD, MMSc</a:t>
            </a:r>
            <a:br>
              <a:rPr lang="en-US" sz="1400" b="0" i="0">
                <a:solidFill>
                  <a:schemeClr val="tx1"/>
                </a:solidFill>
                <a:latin typeface="Arial" panose="020B0604020202020204" pitchFamily="34" charset="0"/>
              </a:rPr>
            </a:br>
            <a:r>
              <a:rPr lang="en-US" sz="1400" b="0" i="0">
                <a:solidFill>
                  <a:schemeClr val="tx1"/>
                </a:solidFill>
                <a:latin typeface="Arial" panose="020B0604020202020204" pitchFamily="34" charset="0"/>
              </a:rPr>
              <a:t>President and CEO, ACCME</a:t>
            </a:r>
          </a:p>
        </p:txBody>
      </p:sp>
      <p:pic>
        <p:nvPicPr>
          <p:cNvPr id="9" name="Picture 8">
            <a:extLst>
              <a:ext uri="{FF2B5EF4-FFF2-40B4-BE49-F238E27FC236}">
                <a16:creationId xmlns:a16="http://schemas.microsoft.com/office/drawing/2014/main" id="{ED31F7BC-7913-7CCC-4BDA-3EA37E648DD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2820" y="2331917"/>
            <a:ext cx="589815" cy="591457"/>
          </a:xfrm>
          <a:prstGeom prst="rect">
            <a:avLst/>
          </a:prstGeom>
        </p:spPr>
      </p:pic>
      <p:sp>
        <p:nvSpPr>
          <p:cNvPr id="15" name="TextBox 14">
            <a:extLst>
              <a:ext uri="{FF2B5EF4-FFF2-40B4-BE49-F238E27FC236}">
                <a16:creationId xmlns:a16="http://schemas.microsoft.com/office/drawing/2014/main" id="{99E3ACD8-753D-4FA9-7EAB-A513DD8D5C70}"/>
              </a:ext>
            </a:extLst>
          </p:cNvPr>
          <p:cNvSpPr txBox="1"/>
          <p:nvPr/>
        </p:nvSpPr>
        <p:spPr>
          <a:xfrm>
            <a:off x="1063868" y="2512230"/>
            <a:ext cx="3505200" cy="215444"/>
          </a:xfrm>
          <a:prstGeom prst="rect">
            <a:avLst/>
          </a:prstGeom>
          <a:noFill/>
        </p:spPr>
        <p:txBody>
          <a:bodyPr wrap="square" lIns="0" tIns="0" rIns="0" bIns="0" rtlCol="0">
            <a:spAutoFit/>
          </a:bodyPr>
          <a:lstStyle/>
          <a:p>
            <a:pPr defTabSz="342884"/>
            <a:r>
              <a:rPr lang="en-US" sz="1400" u="none">
                <a:solidFill>
                  <a:schemeClr val="tx1"/>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instagram.com/accreditedcme</a:t>
            </a:r>
            <a:endParaRPr lang="en-US" sz="1400" u="none">
              <a:solidFill>
                <a:schemeClr val="tx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B30CAAF1-6412-4CE0-F41E-D322FA63044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pic>
        <p:nvPicPr>
          <p:cNvPr id="2" name="Picture 1">
            <a:extLst>
              <a:ext uri="{FF2B5EF4-FFF2-40B4-BE49-F238E27FC236}">
                <a16:creationId xmlns:a16="http://schemas.microsoft.com/office/drawing/2014/main" id="{965E171F-92B8-4B7D-856E-081F555C923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1178" y="1371336"/>
            <a:ext cx="591457" cy="591457"/>
          </a:xfrm>
          <a:prstGeom prst="rect">
            <a:avLst/>
          </a:prstGeom>
        </p:spPr>
      </p:pic>
      <p:sp>
        <p:nvSpPr>
          <p:cNvPr id="5" name="TextBox 4">
            <a:extLst>
              <a:ext uri="{FF2B5EF4-FFF2-40B4-BE49-F238E27FC236}">
                <a16:creationId xmlns:a16="http://schemas.microsoft.com/office/drawing/2014/main" id="{96E1A54D-D72F-ECF1-BAFA-567719BF2353}"/>
              </a:ext>
            </a:extLst>
          </p:cNvPr>
          <p:cNvSpPr txBox="1"/>
          <p:nvPr/>
        </p:nvSpPr>
        <p:spPr>
          <a:xfrm>
            <a:off x="1065734" y="1551008"/>
            <a:ext cx="3505200" cy="215444"/>
          </a:xfrm>
          <a:prstGeom prst="rect">
            <a:avLst/>
          </a:prstGeom>
          <a:noFill/>
        </p:spPr>
        <p:txBody>
          <a:bodyPr wrap="square" lIns="0" tIns="0" rIns="0" bIns="0" rtlCol="0">
            <a:spAutoFit/>
          </a:bodyPr>
          <a:lstStyle/>
          <a:p>
            <a:pPr defTabSz="342884"/>
            <a:r>
              <a:rPr lang="en-US" sz="1400" u="none">
                <a:solidFill>
                  <a:schemeClr val="tx1"/>
                </a:solidFill>
                <a:latin typeface="Arial" panose="020B0604020202020204" pitchFamily="34" charset="0"/>
                <a:ea typeface="Arial" charset="0"/>
                <a:cs typeface="Arial" panose="020B0604020202020204" pitchFamily="34" charset="0"/>
                <a:hlinkClick r:id="rId6">
                  <a:extLst>
                    <a:ext uri="{A12FA001-AC4F-418D-AE19-62706E023703}">
                      <ahyp:hlinkClr xmlns:ahyp="http://schemas.microsoft.com/office/drawing/2018/hyperlinkcolor" val="tx"/>
                    </a:ext>
                  </a:extLst>
                </a:hlinkClick>
              </a:rPr>
              <a:t>linkedin.com/company/AccreditedCME</a:t>
            </a:r>
            <a:endParaRPr lang="en-US" sz="1400" u="none">
              <a:solidFill>
                <a:schemeClr val="tx1"/>
              </a:solidFill>
              <a:latin typeface="Arial" panose="020B0604020202020204" pitchFamily="34" charset="0"/>
              <a:ea typeface="Arial" charset="0"/>
              <a:cs typeface="Arial" panose="020B0604020202020204" pitchFamily="34" charset="0"/>
            </a:endParaRPr>
          </a:p>
        </p:txBody>
      </p:sp>
      <p:pic>
        <p:nvPicPr>
          <p:cNvPr id="8" name="Picture 7">
            <a:extLst>
              <a:ext uri="{FF2B5EF4-FFF2-40B4-BE49-F238E27FC236}">
                <a16:creationId xmlns:a16="http://schemas.microsoft.com/office/drawing/2014/main" id="{5ABF77B0-FFA6-15D0-6F9D-6E11622453F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4572002" y="1371509"/>
            <a:ext cx="589815" cy="591457"/>
          </a:xfrm>
          <a:prstGeom prst="rect">
            <a:avLst/>
          </a:prstGeom>
        </p:spPr>
      </p:pic>
      <p:sp>
        <p:nvSpPr>
          <p:cNvPr id="12" name="TextBox 11">
            <a:extLst>
              <a:ext uri="{FF2B5EF4-FFF2-40B4-BE49-F238E27FC236}">
                <a16:creationId xmlns:a16="http://schemas.microsoft.com/office/drawing/2014/main" id="{BC81BA6D-4C73-0281-EC9A-3890B06056A5}"/>
              </a:ext>
            </a:extLst>
          </p:cNvPr>
          <p:cNvSpPr txBox="1"/>
          <p:nvPr/>
        </p:nvSpPr>
        <p:spPr>
          <a:xfrm>
            <a:off x="5370443" y="1551009"/>
            <a:ext cx="3505200" cy="215444"/>
          </a:xfrm>
          <a:prstGeom prst="rect">
            <a:avLst/>
          </a:prstGeom>
          <a:noFill/>
        </p:spPr>
        <p:txBody>
          <a:bodyPr wrap="square" lIns="0" tIns="0" rIns="0" bIns="0" rtlCol="0">
            <a:spAutoFit/>
          </a:bodyPr>
          <a:lstStyle/>
          <a:p>
            <a:pPr defTabSz="342884"/>
            <a:r>
              <a:rPr lang="en-US" sz="1400">
                <a:solidFill>
                  <a:schemeClr val="tx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facebook.com/AccreditedCME</a:t>
            </a:r>
            <a:endParaRPr lang="en-US" sz="1400">
              <a:solidFill>
                <a:schemeClr val="tx1"/>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40ED13D-48DF-1F7E-8803-CE77BB848E9B}"/>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4570360" y="2331917"/>
            <a:ext cx="591457" cy="591457"/>
          </a:xfrm>
          <a:prstGeom prst="rect">
            <a:avLst/>
          </a:prstGeom>
        </p:spPr>
      </p:pic>
      <p:sp>
        <p:nvSpPr>
          <p:cNvPr id="19" name="TextBox 18">
            <a:extLst>
              <a:ext uri="{FF2B5EF4-FFF2-40B4-BE49-F238E27FC236}">
                <a16:creationId xmlns:a16="http://schemas.microsoft.com/office/drawing/2014/main" id="{5E4A8EF8-D1F1-3141-FF26-77940120D4D8}"/>
              </a:ext>
            </a:extLst>
          </p:cNvPr>
          <p:cNvSpPr txBox="1"/>
          <p:nvPr/>
        </p:nvSpPr>
        <p:spPr>
          <a:xfrm>
            <a:off x="5368800" y="2512230"/>
            <a:ext cx="7413263" cy="430887"/>
          </a:xfrm>
          <a:prstGeom prst="rect">
            <a:avLst/>
          </a:prstGeom>
          <a:noFill/>
        </p:spPr>
        <p:txBody>
          <a:bodyPr wrap="square" lIns="0" tIns="0" rIns="0" bIns="0" rtlCol="0">
            <a:spAutoFit/>
          </a:bodyPr>
          <a:lstStyle/>
          <a:p>
            <a:pPr marL="0" algn="l" defTabSz="342884" rtl="0" eaLnBrk="1" latinLnBrk="0" hangingPunct="1"/>
            <a:r>
              <a:rPr lang="en-US" sz="1400" kern="1200">
                <a:solidFill>
                  <a:schemeClr val="tx1"/>
                </a:solidFill>
                <a:latin typeface="Arial" panose="020B0604020202020204" pitchFamily="34" charset="0"/>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t>https://bsky.app/profile/</a:t>
            </a:r>
          </a:p>
          <a:p>
            <a:pPr marL="0" algn="l" defTabSz="342884" rtl="0" eaLnBrk="1" latinLnBrk="0" hangingPunct="1"/>
            <a:r>
              <a:rPr lang="en-US" sz="1400" kern="1200">
                <a:solidFill>
                  <a:schemeClr val="tx1"/>
                </a:solidFill>
                <a:latin typeface="Arial" panose="020B0604020202020204" pitchFamily="34" charset="0"/>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t>accreditedcme.bsky.social</a:t>
            </a:r>
            <a:endParaRPr lang="en-US" sz="1400" kern="1200">
              <a:solidFill>
                <a:schemeClr val="tx1"/>
              </a:solidFill>
              <a:latin typeface="Arial" panose="020B0604020202020204" pitchFamily="34" charset="0"/>
              <a:ea typeface="+mn-ea"/>
              <a:cs typeface="Arial" panose="020B0604020202020204" pitchFamily="34" charset="0"/>
            </a:endParaRPr>
          </a:p>
        </p:txBody>
      </p:sp>
      <p:sp>
        <p:nvSpPr>
          <p:cNvPr id="11" name="Title 9">
            <a:extLst>
              <a:ext uri="{FF2B5EF4-FFF2-40B4-BE49-F238E27FC236}">
                <a16:creationId xmlns:a16="http://schemas.microsoft.com/office/drawing/2014/main" id="{D93C6085-AE95-952C-F55E-66090A393123}"/>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3" name="Rectangle 12">
            <a:extLst>
              <a:ext uri="{FF2B5EF4-FFF2-40B4-BE49-F238E27FC236}">
                <a16:creationId xmlns:a16="http://schemas.microsoft.com/office/drawing/2014/main" id="{BC93717D-62A9-03FC-2EBB-1EFA78A99DF9}"/>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F02DF8A5-916C-1CB1-CC3E-EEEF4EAD47E7}"/>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6237956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ocial 2">
    <p:bg>
      <p:bgPr>
        <a:solidFill>
          <a:schemeClr val="bg2"/>
        </a:solidFill>
        <a:effectLst/>
      </p:bgPr>
    </p:bg>
    <p:spTree>
      <p:nvGrpSpPr>
        <p:cNvPr id="1" name=""/>
        <p:cNvGrpSpPr/>
        <p:nvPr/>
      </p:nvGrpSpPr>
      <p:grpSpPr>
        <a:xfrm>
          <a:off x="0" y="0"/>
          <a:ext cx="0" cy="0"/>
          <a:chOff x="0" y="0"/>
          <a:chExt cx="0" cy="0"/>
        </a:xfrm>
      </p:grpSpPr>
      <p:sp>
        <p:nvSpPr>
          <p:cNvPr id="3" name="Rectangle: Rounded Corners 1" hidden="1">
            <a:extLst>
              <a:ext uri="{FF2B5EF4-FFF2-40B4-BE49-F238E27FC236}">
                <a16:creationId xmlns:a16="http://schemas.microsoft.com/office/drawing/2014/main" id="{DB77D4A3-C6B1-FC6A-6600-F6818225B257}"/>
              </a:ext>
            </a:extLst>
          </p:cNvPr>
          <p:cNvSpPr>
            <a:spLocks noGrp="1" noRot="1" noMove="1" noResize="1" noEditPoints="1" noAdjustHandles="1" noChangeArrowheads="1" noChangeShapeType="1"/>
          </p:cNvSpPr>
          <p:nvPr/>
        </p:nvSpPr>
        <p:spPr>
          <a:xfrm>
            <a:off x="4857750" y="-4436118"/>
            <a:ext cx="8572500" cy="4210343"/>
          </a:xfrm>
          <a:prstGeom prst="roundRect">
            <a:avLst>
              <a:gd name="adj" fmla="val 75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lnSpc>
                <a:spcPct val="120000"/>
              </a:lnSpc>
              <a:spcBef>
                <a:spcPts val="1200"/>
              </a:spcBef>
            </a:pPr>
            <a:r>
              <a:rPr lang="en-US" sz="1800" b="0" i="0">
                <a:solidFill>
                  <a:schemeClr val="tx1"/>
                </a:solidFill>
                <a:latin typeface="Arial" panose="020B0604020202020204" pitchFamily="34" charset="0"/>
              </a:rPr>
              <a:t>“The team that teaches each other and learns together performs better. Asking one team member to teach the rest of the group something relevant to the practice, even for five minutes, lets the team members be in charge of their own learning agenda, and creates an environment where we learn to appreciate what our colleagues can teach us.”</a:t>
            </a:r>
          </a:p>
          <a:p>
            <a:pPr lvl="0">
              <a:lnSpc>
                <a:spcPct val="120000"/>
              </a:lnSpc>
              <a:spcBef>
                <a:spcPts val="1200"/>
              </a:spcBef>
            </a:pPr>
            <a:r>
              <a:rPr lang="en-US" sz="1400" b="0" i="0">
                <a:solidFill>
                  <a:schemeClr val="tx1"/>
                </a:solidFill>
                <a:latin typeface="Arial" panose="020B0604020202020204" pitchFamily="34" charset="0"/>
              </a:rPr>
              <a:t>Graham McMahon, MD, MMSc</a:t>
            </a:r>
            <a:br>
              <a:rPr lang="en-US" sz="1400" b="0" i="0">
                <a:solidFill>
                  <a:schemeClr val="tx1"/>
                </a:solidFill>
                <a:latin typeface="Arial" panose="020B0604020202020204" pitchFamily="34" charset="0"/>
              </a:rPr>
            </a:br>
            <a:r>
              <a:rPr lang="en-US" sz="1400" b="0" i="0">
                <a:solidFill>
                  <a:schemeClr val="tx1"/>
                </a:solidFill>
                <a:latin typeface="Arial" panose="020B0604020202020204" pitchFamily="34" charset="0"/>
              </a:rPr>
              <a:t>President and CEO, ACCME</a:t>
            </a:r>
          </a:p>
        </p:txBody>
      </p:sp>
      <p:pic>
        <p:nvPicPr>
          <p:cNvPr id="17" name="Picture 16">
            <a:extLst>
              <a:ext uri="{FF2B5EF4-FFF2-40B4-BE49-F238E27FC236}">
                <a16:creationId xmlns:a16="http://schemas.microsoft.com/office/drawing/2014/main" id="{EFDD950A-5BC8-C2F9-6DCB-DF6F32E8F6C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5751" y="1370695"/>
            <a:ext cx="589815" cy="591457"/>
          </a:xfrm>
          <a:prstGeom prst="rect">
            <a:avLst/>
          </a:prstGeom>
        </p:spPr>
      </p:pic>
      <p:pic>
        <p:nvPicPr>
          <p:cNvPr id="18" name="Picture 17">
            <a:extLst>
              <a:ext uri="{FF2B5EF4-FFF2-40B4-BE49-F238E27FC236}">
                <a16:creationId xmlns:a16="http://schemas.microsoft.com/office/drawing/2014/main" id="{64303E3E-E7C0-322B-AB1F-816BCEBE481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5751" y="2228852"/>
            <a:ext cx="589815" cy="591457"/>
          </a:xfrm>
          <a:prstGeom prst="rect">
            <a:avLst/>
          </a:prstGeom>
        </p:spPr>
      </p:pic>
      <p:pic>
        <p:nvPicPr>
          <p:cNvPr id="19" name="Picture 18">
            <a:extLst>
              <a:ext uri="{FF2B5EF4-FFF2-40B4-BE49-F238E27FC236}">
                <a16:creationId xmlns:a16="http://schemas.microsoft.com/office/drawing/2014/main" id="{2EDD4B89-FF0F-982A-9B23-572C75D9008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85751" y="3087009"/>
            <a:ext cx="589815" cy="591457"/>
          </a:xfrm>
          <a:prstGeom prst="rect">
            <a:avLst/>
          </a:prstGeom>
        </p:spPr>
      </p:pic>
      <p:pic>
        <p:nvPicPr>
          <p:cNvPr id="20" name="Picture 19">
            <a:extLst>
              <a:ext uri="{FF2B5EF4-FFF2-40B4-BE49-F238E27FC236}">
                <a16:creationId xmlns:a16="http://schemas.microsoft.com/office/drawing/2014/main" id="{DBF30129-AAB7-D812-C35A-30CEBD7542D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5751" y="3945166"/>
            <a:ext cx="591457" cy="591457"/>
          </a:xfrm>
          <a:prstGeom prst="rect">
            <a:avLst/>
          </a:prstGeom>
        </p:spPr>
      </p:pic>
      <p:sp>
        <p:nvSpPr>
          <p:cNvPr id="21" name="TextBox 20">
            <a:extLst>
              <a:ext uri="{FF2B5EF4-FFF2-40B4-BE49-F238E27FC236}">
                <a16:creationId xmlns:a16="http://schemas.microsoft.com/office/drawing/2014/main" id="{B353FE69-641C-8C54-33AC-0D840D007A88}"/>
              </a:ext>
            </a:extLst>
          </p:cNvPr>
          <p:cNvSpPr txBox="1"/>
          <p:nvPr/>
        </p:nvSpPr>
        <p:spPr>
          <a:xfrm>
            <a:off x="1084192" y="1551402"/>
            <a:ext cx="3505200" cy="215444"/>
          </a:xfrm>
          <a:prstGeom prst="rect">
            <a:avLst/>
          </a:prstGeom>
          <a:noFill/>
        </p:spPr>
        <p:txBody>
          <a:bodyPr wrap="square" lIns="0" tIns="0" rIns="0" bIns="0" rtlCol="0">
            <a:spAutoFit/>
          </a:bodyPr>
          <a:lstStyle/>
          <a:p>
            <a:pPr defTabSz="342884"/>
            <a:r>
              <a:rPr lang="en-US" sz="1400">
                <a:solidFill>
                  <a:schemeClr val="tx1"/>
                </a:solidFill>
                <a:latin typeface="Arial" panose="020B0604020202020204" pitchFamily="34" charset="0"/>
                <a:ea typeface="Arial" charset="0"/>
                <a:cs typeface="Arial" panose="020B0604020202020204" pitchFamily="34" charset="0"/>
                <a:hlinkClick r:id="rId6">
                  <a:extLst>
                    <a:ext uri="{A12FA001-AC4F-418D-AE19-62706E023703}">
                      <ahyp:hlinkClr xmlns:ahyp="http://schemas.microsoft.com/office/drawing/2018/hyperlinkcolor" val="tx"/>
                    </a:ext>
                  </a:extLst>
                </a:hlinkClick>
              </a:rPr>
              <a:t>linkedin.com/company/AccreditedCME</a:t>
            </a:r>
            <a:endParaRPr lang="en-US" sz="1400">
              <a:solidFill>
                <a:schemeClr val="tx1"/>
              </a:solidFill>
              <a:latin typeface="Arial" panose="020B0604020202020204" pitchFamily="34" charset="0"/>
              <a:ea typeface="Arial" charset="0"/>
              <a:cs typeface="Arial" panose="020B0604020202020204" pitchFamily="34" charset="0"/>
            </a:endParaRPr>
          </a:p>
        </p:txBody>
      </p:sp>
      <p:sp>
        <p:nvSpPr>
          <p:cNvPr id="22" name="TextBox 21">
            <a:extLst>
              <a:ext uri="{FF2B5EF4-FFF2-40B4-BE49-F238E27FC236}">
                <a16:creationId xmlns:a16="http://schemas.microsoft.com/office/drawing/2014/main" id="{4EEE7A52-4760-7DB7-FF89-CC3E85E24622}"/>
              </a:ext>
            </a:extLst>
          </p:cNvPr>
          <p:cNvSpPr txBox="1"/>
          <p:nvPr/>
        </p:nvSpPr>
        <p:spPr>
          <a:xfrm>
            <a:off x="1084192" y="2409164"/>
            <a:ext cx="3505200" cy="215444"/>
          </a:xfrm>
          <a:prstGeom prst="rect">
            <a:avLst/>
          </a:prstGeom>
          <a:noFill/>
        </p:spPr>
        <p:txBody>
          <a:bodyPr wrap="square" lIns="0" tIns="0" rIns="0" bIns="0" rtlCol="0">
            <a:spAutoFit/>
          </a:bodyPr>
          <a:lstStyle/>
          <a:p>
            <a:pPr defTabSz="342884"/>
            <a:r>
              <a:rPr lang="en-US" sz="1400">
                <a:solidFill>
                  <a:schemeClr val="tx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acebook.com/AccreditedCME</a:t>
            </a:r>
            <a:endParaRPr lang="en-US" sz="1400">
              <a:solidFill>
                <a:schemeClr val="tx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084E579-CA37-7F95-4509-92141873319E}"/>
              </a:ext>
            </a:extLst>
          </p:cNvPr>
          <p:cNvSpPr txBox="1"/>
          <p:nvPr/>
        </p:nvSpPr>
        <p:spPr>
          <a:xfrm>
            <a:off x="1084192" y="3267321"/>
            <a:ext cx="3505200" cy="215444"/>
          </a:xfrm>
          <a:prstGeom prst="rect">
            <a:avLst/>
          </a:prstGeom>
          <a:noFill/>
        </p:spPr>
        <p:txBody>
          <a:bodyPr wrap="square" lIns="0" tIns="0" rIns="0" bIns="0" rtlCol="0">
            <a:spAutoFit/>
          </a:bodyPr>
          <a:lstStyle/>
          <a:p>
            <a:pPr defTabSz="342884"/>
            <a:r>
              <a:rPr lang="en-US" sz="1400">
                <a:solidFill>
                  <a:schemeClr val="tx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stagram.com/accreditedcme</a:t>
            </a:r>
            <a:endParaRPr lang="en-US" sz="1400">
              <a:solidFill>
                <a:schemeClr val="tx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542CE65-5E14-795B-D7B0-66DA45B1B45F}"/>
              </a:ext>
            </a:extLst>
          </p:cNvPr>
          <p:cNvSpPr txBox="1"/>
          <p:nvPr/>
        </p:nvSpPr>
        <p:spPr>
          <a:xfrm>
            <a:off x="1084192" y="4125081"/>
            <a:ext cx="7413263" cy="215444"/>
          </a:xfrm>
          <a:prstGeom prst="rect">
            <a:avLst/>
          </a:prstGeom>
          <a:noFill/>
        </p:spPr>
        <p:txBody>
          <a:bodyPr wrap="square" lIns="0" tIns="0" rIns="0" bIns="0" rtlCol="0">
            <a:spAutoFit/>
          </a:bodyPr>
          <a:lstStyle/>
          <a:p>
            <a:pPr marL="0" algn="l" defTabSz="342884" rtl="0" eaLnBrk="1" latinLnBrk="0" hangingPunct="1"/>
            <a:r>
              <a:rPr lang="en-US" sz="1400" kern="1200">
                <a:solidFill>
                  <a:schemeClr val="tx1"/>
                </a:solidFill>
                <a:latin typeface="Arial" panose="020B0604020202020204" pitchFamily="34" charset="0"/>
                <a:ea typeface="+mn-ea"/>
                <a:cs typeface="Arial" panose="020B0604020202020204" pitchFamily="34" charset="0"/>
                <a:hlinkClick r:id="rId9" tooltip="Original URL: https://bsky.app/profile/accreditedcme.bsky.social. Click or tap if you trust this link.">
                  <a:extLst>
                    <a:ext uri="{A12FA001-AC4F-418D-AE19-62706E023703}">
                      <ahyp:hlinkClr xmlns:ahyp="http://schemas.microsoft.com/office/drawing/2018/hyperlinkcolor" val="tx"/>
                    </a:ext>
                  </a:extLst>
                </a:hlinkClick>
              </a:rPr>
              <a:t>https://bsky.app/profile/accreditedcme.bsky.social</a:t>
            </a:r>
            <a:endParaRPr lang="en-US" sz="1400" kern="1200">
              <a:solidFill>
                <a:schemeClr val="tx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0B4C9966-DA9B-1333-6A3C-554E7617944E}"/>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2" name="Title 9">
            <a:extLst>
              <a:ext uri="{FF2B5EF4-FFF2-40B4-BE49-F238E27FC236}">
                <a16:creationId xmlns:a16="http://schemas.microsoft.com/office/drawing/2014/main" id="{C023FDAF-7C64-D5E2-F66C-613AAB10A4F7}"/>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6" name="Rectangle 5">
            <a:extLst>
              <a:ext uri="{FF2B5EF4-FFF2-40B4-BE49-F238E27FC236}">
                <a16:creationId xmlns:a16="http://schemas.microsoft.com/office/drawing/2014/main" id="{FBCD7A5A-3A87-0A66-B9E3-94C102DEB4E6}"/>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4">
            <a:extLst>
              <a:ext uri="{FF2B5EF4-FFF2-40B4-BE49-F238E27FC236}">
                <a16:creationId xmlns:a16="http://schemas.microsoft.com/office/drawing/2014/main" id="{A91A8FF7-1A1D-38B2-4EA7-83E0D90D847E}"/>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155102102"/>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with Image (no title)">
    <p:bg>
      <p:bgPr>
        <a:solidFill>
          <a:schemeClr val="bg2"/>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8280CF31-7A44-A265-C319-C92BF996932A}"/>
              </a:ext>
            </a:extLst>
          </p:cNvPr>
          <p:cNvSpPr>
            <a:spLocks noGrp="1"/>
          </p:cNvSpPr>
          <p:nvPr>
            <p:ph type="pic" sz="quarter" idx="10"/>
          </p:nvPr>
        </p:nvSpPr>
        <p:spPr>
          <a:xfrm>
            <a:off x="0" y="0"/>
            <a:ext cx="39052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4">
            <a:extLst>
              <a:ext uri="{FF2B5EF4-FFF2-40B4-BE49-F238E27FC236}">
                <a16:creationId xmlns:a16="http://schemas.microsoft.com/office/drawing/2014/main" id="{9A3E5213-3BF8-B4C8-D16F-951A2EF2F430}"/>
              </a:ext>
            </a:extLst>
          </p:cNvPr>
          <p:cNvSpPr>
            <a:spLocks noGrp="1"/>
          </p:cNvSpPr>
          <p:nvPr>
            <p:ph type="body" sz="quarter" idx="13" hasCustomPrompt="1"/>
          </p:nvPr>
        </p:nvSpPr>
        <p:spPr>
          <a:xfrm>
            <a:off x="4514850" y="457200"/>
            <a:ext cx="4286250" cy="2114550"/>
          </a:xfrm>
          <a:prstGeom prst="rect">
            <a:avLst/>
          </a:prstGeom>
        </p:spPr>
        <p:txBody>
          <a:bodyPr lIns="0" tIns="0" rIns="0" bIns="0"/>
          <a:lstStyle>
            <a:lvl1pPr marL="0" indent="0">
              <a:buNone/>
              <a:defRPr sz="2400" b="0" i="0">
                <a:solidFill>
                  <a:schemeClr val="tx2"/>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4" name="Text Placeholder 19">
            <a:extLst>
              <a:ext uri="{FF2B5EF4-FFF2-40B4-BE49-F238E27FC236}">
                <a16:creationId xmlns:a16="http://schemas.microsoft.com/office/drawing/2014/main" id="{D900ED05-EBB5-FE3E-9696-0B7EBFEDDF10}"/>
              </a:ext>
            </a:extLst>
          </p:cNvPr>
          <p:cNvSpPr>
            <a:spLocks noGrp="1"/>
          </p:cNvSpPr>
          <p:nvPr>
            <p:ph type="body" sz="quarter" idx="14" hasCustomPrompt="1"/>
          </p:nvPr>
        </p:nvSpPr>
        <p:spPr>
          <a:xfrm>
            <a:off x="4514850" y="2871791"/>
            <a:ext cx="4286250" cy="1648936"/>
          </a:xfrm>
          <a:prstGeom prst="rect">
            <a:avLst/>
          </a:prstGeom>
        </p:spPr>
        <p:txBody>
          <a:bodyPr lIns="0" tIns="0" rIns="0" bIns="0"/>
          <a:lstStyle>
            <a:lvl1pPr marL="0" indent="0">
              <a:buNone/>
              <a:defRPr sz="1400">
                <a:solidFill>
                  <a:schemeClr val="tx2"/>
                </a:solidFill>
                <a:latin typeface="Arial" panose="020B0604020202020204" pitchFamily="34" charset="0"/>
                <a:cs typeface="Arial" panose="020B0604020202020204" pitchFamily="34" charset="0"/>
              </a:defRPr>
            </a:lvl1pPr>
          </a:lstStyle>
          <a:p>
            <a:pPr lvl="0"/>
            <a:r>
              <a:rPr lang="en-US"/>
              <a:t>Body text</a:t>
            </a:r>
          </a:p>
        </p:txBody>
      </p:sp>
      <p:pic>
        <p:nvPicPr>
          <p:cNvPr id="2" name="Picture 1">
            <a:extLst>
              <a:ext uri="{FF2B5EF4-FFF2-40B4-BE49-F238E27FC236}">
                <a16:creationId xmlns:a16="http://schemas.microsoft.com/office/drawing/2014/main" id="{1926D2F4-85EA-9006-37FE-68480421E56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Rectangle 4">
            <a:extLst>
              <a:ext uri="{FF2B5EF4-FFF2-40B4-BE49-F238E27FC236}">
                <a16:creationId xmlns:a16="http://schemas.microsoft.com/office/drawing/2014/main" id="{8264D29B-8C11-410D-7CC0-CCFEBE09414A}"/>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62752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 with Small Image (no titl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2050D3-7E1A-88C3-14BB-CD04E2E96532}"/>
              </a:ext>
            </a:extLst>
          </p:cNvPr>
          <p:cNvSpPr>
            <a:spLocks noGrp="1"/>
          </p:cNvSpPr>
          <p:nvPr>
            <p:ph type="pic" sz="quarter" idx="10"/>
          </p:nvPr>
        </p:nvSpPr>
        <p:spPr>
          <a:xfrm>
            <a:off x="0" y="0"/>
            <a:ext cx="3181350" cy="5143500"/>
          </a:xfrm>
          <a:custGeom>
            <a:avLst/>
            <a:gdLst>
              <a:gd name="connsiteX0" fmla="*/ 0 w 6362700"/>
              <a:gd name="connsiteY0" fmla="*/ 0 h 10287000"/>
              <a:gd name="connsiteX1" fmla="*/ 6362700 w 6362700"/>
              <a:gd name="connsiteY1" fmla="*/ 0 h 10287000"/>
              <a:gd name="connsiteX2" fmla="*/ 6362700 w 6362700"/>
              <a:gd name="connsiteY2" fmla="*/ 10287000 h 10287000"/>
              <a:gd name="connsiteX3" fmla="*/ 0 w 63627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6362700" h="10287000">
                <a:moveTo>
                  <a:pt x="0" y="0"/>
                </a:moveTo>
                <a:lnTo>
                  <a:pt x="6362700" y="0"/>
                </a:lnTo>
                <a:lnTo>
                  <a:pt x="6362700" y="10287000"/>
                </a:lnTo>
                <a:lnTo>
                  <a:pt x="0" y="10287000"/>
                </a:lnTo>
                <a:close/>
              </a:path>
            </a:pathLst>
          </a:cu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5" name="Text Placeholder 4">
            <a:extLst>
              <a:ext uri="{FF2B5EF4-FFF2-40B4-BE49-F238E27FC236}">
                <a16:creationId xmlns:a16="http://schemas.microsoft.com/office/drawing/2014/main" id="{1F1C9EB4-64C3-5296-F9F2-8B63F53666DF}"/>
              </a:ext>
            </a:extLst>
          </p:cNvPr>
          <p:cNvSpPr>
            <a:spLocks noGrp="1"/>
          </p:cNvSpPr>
          <p:nvPr>
            <p:ph type="body" sz="quarter" idx="13" hasCustomPrompt="1"/>
          </p:nvPr>
        </p:nvSpPr>
        <p:spPr>
          <a:xfrm>
            <a:off x="3914776" y="457200"/>
            <a:ext cx="4886325" cy="2114550"/>
          </a:xfrm>
          <a:prstGeom prst="rect">
            <a:avLst/>
          </a:prstGeom>
        </p:spPr>
        <p:txBody>
          <a:bodyPr lIns="0" tIns="0" rIns="0" bIns="0"/>
          <a:lstStyle>
            <a:lvl1pPr marL="0" indent="0">
              <a:buNone/>
              <a:defRPr sz="2400" b="0" i="0">
                <a:solidFill>
                  <a:schemeClr val="tx2"/>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Text Placeholder 19">
            <a:extLst>
              <a:ext uri="{FF2B5EF4-FFF2-40B4-BE49-F238E27FC236}">
                <a16:creationId xmlns:a16="http://schemas.microsoft.com/office/drawing/2014/main" id="{2DD8358B-C9B8-D7DE-D95A-A8BDCD73B27C}"/>
              </a:ext>
            </a:extLst>
          </p:cNvPr>
          <p:cNvSpPr>
            <a:spLocks noGrp="1"/>
          </p:cNvSpPr>
          <p:nvPr>
            <p:ph type="body" sz="quarter" idx="14" hasCustomPrompt="1"/>
          </p:nvPr>
        </p:nvSpPr>
        <p:spPr>
          <a:xfrm>
            <a:off x="3914776" y="2871791"/>
            <a:ext cx="4886325" cy="1648936"/>
          </a:xfrm>
          <a:prstGeom prst="rect">
            <a:avLst/>
          </a:prstGeom>
        </p:spPr>
        <p:txBody>
          <a:bodyPr lIns="0" tIns="0" rIns="0" bIns="0"/>
          <a:lstStyle>
            <a:lvl1pPr marL="0" indent="0">
              <a:buNone/>
              <a:defRPr sz="1400">
                <a:solidFill>
                  <a:schemeClr val="tx2"/>
                </a:solidFill>
                <a:latin typeface="Arial" panose="020B0604020202020204" pitchFamily="34" charset="0"/>
                <a:cs typeface="Arial" panose="020B0604020202020204" pitchFamily="34" charset="0"/>
              </a:defRPr>
            </a:lvl1pPr>
          </a:lstStyle>
          <a:p>
            <a:pPr lvl="0"/>
            <a:r>
              <a:rPr lang="en-US"/>
              <a:t>Body text</a:t>
            </a:r>
          </a:p>
        </p:txBody>
      </p:sp>
      <p:pic>
        <p:nvPicPr>
          <p:cNvPr id="2" name="Picture 1">
            <a:extLst>
              <a:ext uri="{FF2B5EF4-FFF2-40B4-BE49-F238E27FC236}">
                <a16:creationId xmlns:a16="http://schemas.microsoft.com/office/drawing/2014/main" id="{FE4606C1-3538-2D51-18DF-C74B234FBA1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3" name="Rectangle 2">
            <a:extLst>
              <a:ext uri="{FF2B5EF4-FFF2-40B4-BE49-F238E27FC236}">
                <a16:creationId xmlns:a16="http://schemas.microsoft.com/office/drawing/2014/main" id="{DEAF9478-9090-A141-B015-898BB1CD55FC}"/>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3411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with Large Image (no title)">
    <p:bg>
      <p:bgPr>
        <a:solidFill>
          <a:schemeClr val="bg2"/>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B23F57E-9CB6-205E-FC8A-25C56485F67A}"/>
              </a:ext>
            </a:extLst>
          </p:cNvPr>
          <p:cNvSpPr>
            <a:spLocks noGrp="1"/>
          </p:cNvSpPr>
          <p:nvPr>
            <p:ph type="pic" sz="quarter" idx="10"/>
          </p:nvPr>
        </p:nvSpPr>
        <p:spPr>
          <a:xfrm>
            <a:off x="2" y="0"/>
            <a:ext cx="5084956" cy="5143500"/>
          </a:xfrm>
          <a:custGeom>
            <a:avLst/>
            <a:gdLst>
              <a:gd name="connsiteX0" fmla="*/ 0 w 10706100"/>
              <a:gd name="connsiteY0" fmla="*/ 0 h 10287000"/>
              <a:gd name="connsiteX1" fmla="*/ 10706100 w 10706100"/>
              <a:gd name="connsiteY1" fmla="*/ 0 h 10287000"/>
              <a:gd name="connsiteX2" fmla="*/ 10706100 w 10706100"/>
              <a:gd name="connsiteY2" fmla="*/ 10287000 h 10287000"/>
              <a:gd name="connsiteX3" fmla="*/ 0 w 107061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10706100" h="10287000">
                <a:moveTo>
                  <a:pt x="0" y="0"/>
                </a:moveTo>
                <a:lnTo>
                  <a:pt x="10706100" y="0"/>
                </a:lnTo>
                <a:lnTo>
                  <a:pt x="10706100" y="10287000"/>
                </a:lnTo>
                <a:lnTo>
                  <a:pt x="0" y="10287000"/>
                </a:lnTo>
                <a:close/>
              </a:path>
            </a:pathLst>
          </a:cu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4">
            <a:extLst>
              <a:ext uri="{FF2B5EF4-FFF2-40B4-BE49-F238E27FC236}">
                <a16:creationId xmlns:a16="http://schemas.microsoft.com/office/drawing/2014/main" id="{76039325-FEBE-EE3B-A1CB-06FBBC5768F4}"/>
              </a:ext>
            </a:extLst>
          </p:cNvPr>
          <p:cNvSpPr>
            <a:spLocks noGrp="1"/>
          </p:cNvSpPr>
          <p:nvPr>
            <p:ph type="body" sz="quarter" idx="13" hasCustomPrompt="1"/>
          </p:nvPr>
        </p:nvSpPr>
        <p:spPr>
          <a:xfrm>
            <a:off x="5363212" y="457200"/>
            <a:ext cx="3437889" cy="2114550"/>
          </a:xfrm>
          <a:prstGeom prst="rect">
            <a:avLst/>
          </a:prstGeom>
        </p:spPr>
        <p:txBody>
          <a:bodyPr lIns="0" tIns="0" rIns="0" bIns="0"/>
          <a:lstStyle>
            <a:lvl1pPr marL="0" indent="0">
              <a:buNone/>
              <a:defRPr sz="2400" b="0" i="0">
                <a:solidFill>
                  <a:schemeClr val="tx2"/>
                </a:solidFill>
                <a:latin typeface="Arial" panose="020B0604020202020204" pitchFamily="34" charset="0"/>
                <a:cs typeface="Arial" panose="020B0604020202020204" pitchFamily="34" charset="0"/>
              </a:defRPr>
            </a:lvl1pPr>
            <a:lvl2pPr>
              <a:defRPr sz="4800" b="0" i="0">
                <a:latin typeface="Manrope Medium" pitchFamily="2" charset="0"/>
              </a:defRPr>
            </a:lvl2pPr>
            <a:lvl3pPr>
              <a:defRPr sz="4800" b="0" i="0">
                <a:latin typeface="Manrope Medium" pitchFamily="2" charset="0"/>
              </a:defRPr>
            </a:lvl3pPr>
            <a:lvl4pPr>
              <a:defRPr sz="4800" b="0" i="0">
                <a:latin typeface="Manrope Medium" pitchFamily="2" charset="0"/>
              </a:defRPr>
            </a:lvl4pPr>
            <a:lvl5pPr>
              <a:defRPr sz="4800" b="0" i="0">
                <a:latin typeface="Manrope Medium" pitchFamily="2"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4" name="Text Placeholder 19">
            <a:extLst>
              <a:ext uri="{FF2B5EF4-FFF2-40B4-BE49-F238E27FC236}">
                <a16:creationId xmlns:a16="http://schemas.microsoft.com/office/drawing/2014/main" id="{CFA06F55-EE8D-2EBC-BEAC-CB4E8D5A9C5B}"/>
              </a:ext>
            </a:extLst>
          </p:cNvPr>
          <p:cNvSpPr>
            <a:spLocks noGrp="1"/>
          </p:cNvSpPr>
          <p:nvPr>
            <p:ph type="body" sz="quarter" idx="14" hasCustomPrompt="1"/>
          </p:nvPr>
        </p:nvSpPr>
        <p:spPr>
          <a:xfrm>
            <a:off x="5363212" y="2871791"/>
            <a:ext cx="3437889" cy="1648936"/>
          </a:xfrm>
          <a:prstGeom prst="rect">
            <a:avLst/>
          </a:prstGeom>
        </p:spPr>
        <p:txBody>
          <a:bodyPr lIns="0" tIns="0" rIns="0" bIns="0"/>
          <a:lstStyle>
            <a:lvl1pPr marL="0" indent="0">
              <a:buNone/>
              <a:defRPr sz="1400">
                <a:solidFill>
                  <a:schemeClr val="tx2"/>
                </a:solidFill>
                <a:latin typeface="Arial" panose="020B0604020202020204" pitchFamily="34" charset="0"/>
                <a:cs typeface="Arial" panose="020B0604020202020204" pitchFamily="34" charset="0"/>
              </a:defRPr>
            </a:lvl1pPr>
          </a:lstStyle>
          <a:p>
            <a:pPr lvl="0"/>
            <a:r>
              <a:rPr lang="en-US"/>
              <a:t>Body text</a:t>
            </a:r>
          </a:p>
        </p:txBody>
      </p:sp>
      <p:pic>
        <p:nvPicPr>
          <p:cNvPr id="2" name="Picture 1">
            <a:extLst>
              <a:ext uri="{FF2B5EF4-FFF2-40B4-BE49-F238E27FC236}">
                <a16:creationId xmlns:a16="http://schemas.microsoft.com/office/drawing/2014/main" id="{38466013-1627-8F76-0F25-62D6395EF55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Rectangle 4">
            <a:extLst>
              <a:ext uri="{FF2B5EF4-FFF2-40B4-BE49-F238E27FC236}">
                <a16:creationId xmlns:a16="http://schemas.microsoft.com/office/drawing/2014/main" id="{E030C401-B69F-D329-0DDB-462DFC638A6A}"/>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2881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Photo Collage">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4A174E6-7964-9330-B26A-B812B0B28BB5}"/>
              </a:ext>
            </a:extLst>
          </p:cNvPr>
          <p:cNvSpPr>
            <a:spLocks noGrp="1"/>
          </p:cNvSpPr>
          <p:nvPr>
            <p:ph type="pic" sz="quarter" idx="10"/>
          </p:nvPr>
        </p:nvSpPr>
        <p:spPr>
          <a:xfrm>
            <a:off x="285750" y="457204"/>
            <a:ext cx="2781300" cy="4131890"/>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2" name="Picture Placeholder 10">
            <a:extLst>
              <a:ext uri="{FF2B5EF4-FFF2-40B4-BE49-F238E27FC236}">
                <a16:creationId xmlns:a16="http://schemas.microsoft.com/office/drawing/2014/main" id="{3F6BA031-CAF1-5B33-CC65-CD53D16655E8}"/>
              </a:ext>
            </a:extLst>
          </p:cNvPr>
          <p:cNvSpPr>
            <a:spLocks noGrp="1"/>
          </p:cNvSpPr>
          <p:nvPr>
            <p:ph type="pic" sz="quarter" idx="11"/>
          </p:nvPr>
        </p:nvSpPr>
        <p:spPr>
          <a:xfrm>
            <a:off x="3181350" y="457204"/>
            <a:ext cx="2781300" cy="4131890"/>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Picture Placeholder 10">
            <a:extLst>
              <a:ext uri="{FF2B5EF4-FFF2-40B4-BE49-F238E27FC236}">
                <a16:creationId xmlns:a16="http://schemas.microsoft.com/office/drawing/2014/main" id="{791E5B56-517D-3556-6A90-6B32169E803E}"/>
              </a:ext>
            </a:extLst>
          </p:cNvPr>
          <p:cNvSpPr>
            <a:spLocks noGrp="1"/>
          </p:cNvSpPr>
          <p:nvPr>
            <p:ph type="pic" sz="quarter" idx="12"/>
          </p:nvPr>
        </p:nvSpPr>
        <p:spPr>
          <a:xfrm>
            <a:off x="6078786" y="457204"/>
            <a:ext cx="2781300" cy="4131890"/>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5" name="Picture 4">
            <a:extLst>
              <a:ext uri="{FF2B5EF4-FFF2-40B4-BE49-F238E27FC236}">
                <a16:creationId xmlns:a16="http://schemas.microsoft.com/office/drawing/2014/main" id="{3AC12696-8E2C-CA52-81EC-7F2BCE45C56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4" name="Rectangle 3">
            <a:extLst>
              <a:ext uri="{FF2B5EF4-FFF2-40B4-BE49-F238E27FC236}">
                <a16:creationId xmlns:a16="http://schemas.microsoft.com/office/drawing/2014/main" id="{E3DE1C14-9BB0-DC57-744C-FA76CFFBA930}"/>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51267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Photo Collage (2)">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4A174E6-7964-9330-B26A-B812B0B28BB5}"/>
              </a:ext>
            </a:extLst>
          </p:cNvPr>
          <p:cNvSpPr>
            <a:spLocks noGrp="1"/>
          </p:cNvSpPr>
          <p:nvPr>
            <p:ph type="pic" sz="quarter" idx="10"/>
          </p:nvPr>
        </p:nvSpPr>
        <p:spPr>
          <a:xfrm>
            <a:off x="285750" y="457203"/>
            <a:ext cx="2781300" cy="2300287"/>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2" name="Picture Placeholder 10">
            <a:extLst>
              <a:ext uri="{FF2B5EF4-FFF2-40B4-BE49-F238E27FC236}">
                <a16:creationId xmlns:a16="http://schemas.microsoft.com/office/drawing/2014/main" id="{3F6BA031-CAF1-5B33-CC65-CD53D16655E8}"/>
              </a:ext>
            </a:extLst>
          </p:cNvPr>
          <p:cNvSpPr>
            <a:spLocks noGrp="1"/>
          </p:cNvSpPr>
          <p:nvPr>
            <p:ph type="pic" sz="quarter" idx="11"/>
          </p:nvPr>
        </p:nvSpPr>
        <p:spPr>
          <a:xfrm>
            <a:off x="3181350" y="457203"/>
            <a:ext cx="5676900" cy="2300287"/>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Picture Placeholder 10">
            <a:extLst>
              <a:ext uri="{FF2B5EF4-FFF2-40B4-BE49-F238E27FC236}">
                <a16:creationId xmlns:a16="http://schemas.microsoft.com/office/drawing/2014/main" id="{791E5B56-517D-3556-6A90-6B32169E803E}"/>
              </a:ext>
            </a:extLst>
          </p:cNvPr>
          <p:cNvSpPr>
            <a:spLocks noGrp="1"/>
          </p:cNvSpPr>
          <p:nvPr>
            <p:ph type="pic" sz="quarter" idx="12"/>
          </p:nvPr>
        </p:nvSpPr>
        <p:spPr>
          <a:xfrm>
            <a:off x="285750" y="2871790"/>
            <a:ext cx="8572500" cy="1725848"/>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4" name="Picture 3">
            <a:extLst>
              <a:ext uri="{FF2B5EF4-FFF2-40B4-BE49-F238E27FC236}">
                <a16:creationId xmlns:a16="http://schemas.microsoft.com/office/drawing/2014/main" id="{32F9FD89-08BB-C776-8719-17F826664C9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Rectangle 4">
            <a:extLst>
              <a:ext uri="{FF2B5EF4-FFF2-40B4-BE49-F238E27FC236}">
                <a16:creationId xmlns:a16="http://schemas.microsoft.com/office/drawing/2014/main" id="{82E00245-D9D0-8403-57CC-BF5E84BA31B7}"/>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7060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Photo Collage">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4A174E6-7964-9330-B26A-B812B0B28BB5}"/>
              </a:ext>
            </a:extLst>
          </p:cNvPr>
          <p:cNvSpPr>
            <a:spLocks noGrp="1"/>
          </p:cNvSpPr>
          <p:nvPr>
            <p:ph type="pic" sz="quarter" idx="10"/>
          </p:nvPr>
        </p:nvSpPr>
        <p:spPr>
          <a:xfrm>
            <a:off x="285750" y="457202"/>
            <a:ext cx="2781300" cy="4140435"/>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Picture Placeholder 10">
            <a:extLst>
              <a:ext uri="{FF2B5EF4-FFF2-40B4-BE49-F238E27FC236}">
                <a16:creationId xmlns:a16="http://schemas.microsoft.com/office/drawing/2014/main" id="{791E5B56-517D-3556-6A90-6B32169E803E}"/>
              </a:ext>
            </a:extLst>
          </p:cNvPr>
          <p:cNvSpPr>
            <a:spLocks noGrp="1"/>
          </p:cNvSpPr>
          <p:nvPr>
            <p:ph type="pic" sz="quarter" idx="12"/>
          </p:nvPr>
        </p:nvSpPr>
        <p:spPr>
          <a:xfrm>
            <a:off x="3181350" y="457203"/>
            <a:ext cx="5678736" cy="2800349"/>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4" name="Picture Placeholder 10">
            <a:extLst>
              <a:ext uri="{FF2B5EF4-FFF2-40B4-BE49-F238E27FC236}">
                <a16:creationId xmlns:a16="http://schemas.microsoft.com/office/drawing/2014/main" id="{312B8A79-4255-2411-D277-CD78EDF7EB1B}"/>
              </a:ext>
            </a:extLst>
          </p:cNvPr>
          <p:cNvSpPr>
            <a:spLocks noGrp="1"/>
          </p:cNvSpPr>
          <p:nvPr>
            <p:ph type="pic" sz="quarter" idx="13"/>
          </p:nvPr>
        </p:nvSpPr>
        <p:spPr>
          <a:xfrm>
            <a:off x="3181350" y="3354782"/>
            <a:ext cx="3505200" cy="1242856"/>
          </a:xfrm>
          <a:prstGeom prst="roundRect">
            <a:avLst>
              <a:gd name="adj" fmla="val 11771"/>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5" name="Picture Placeholder 10">
            <a:extLst>
              <a:ext uri="{FF2B5EF4-FFF2-40B4-BE49-F238E27FC236}">
                <a16:creationId xmlns:a16="http://schemas.microsoft.com/office/drawing/2014/main" id="{A01CDC3F-5F2E-7F10-D08F-7B417DFB67D1}"/>
              </a:ext>
            </a:extLst>
          </p:cNvPr>
          <p:cNvSpPr>
            <a:spLocks noGrp="1"/>
          </p:cNvSpPr>
          <p:nvPr>
            <p:ph type="pic" sz="quarter" idx="14"/>
          </p:nvPr>
        </p:nvSpPr>
        <p:spPr>
          <a:xfrm>
            <a:off x="6800849" y="3354782"/>
            <a:ext cx="2058885" cy="1242856"/>
          </a:xfrm>
          <a:prstGeom prst="roundRect">
            <a:avLst>
              <a:gd name="adj" fmla="val 10880"/>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2" name="Picture 1">
            <a:extLst>
              <a:ext uri="{FF2B5EF4-FFF2-40B4-BE49-F238E27FC236}">
                <a16:creationId xmlns:a16="http://schemas.microsoft.com/office/drawing/2014/main" id="{0AFB61A9-62B6-4B0A-3700-8069209167E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6" name="Rectangle 5">
            <a:extLst>
              <a:ext uri="{FF2B5EF4-FFF2-40B4-BE49-F238E27FC236}">
                <a16:creationId xmlns:a16="http://schemas.microsoft.com/office/drawing/2014/main" id="{D7079B10-FEBF-2607-75F9-CE456A135CAD}"/>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34447"/>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Schedule">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680025D-7EA8-447E-622D-3D9EC00FAE16}"/>
              </a:ext>
            </a:extLst>
          </p:cNvPr>
          <p:cNvSpPr txBox="1"/>
          <p:nvPr/>
        </p:nvSpPr>
        <p:spPr>
          <a:xfrm>
            <a:off x="4114801" y="2116068"/>
            <a:ext cx="65" cy="276999"/>
          </a:xfrm>
          <a:prstGeom prst="rect">
            <a:avLst/>
          </a:prstGeom>
          <a:noFill/>
        </p:spPr>
        <p:txBody>
          <a:bodyPr wrap="none" lIns="0" tIns="0" rIns="0" bIns="0" rtlCol="0">
            <a:spAutoFit/>
          </a:bodyPr>
          <a:lstStyle/>
          <a:p>
            <a:endParaRPr lang="en-US" sz="1800">
              <a:latin typeface="Arial" panose="020B0604020202020204" pitchFamily="34" charset="0"/>
              <a:cs typeface="Arial" panose="020B0604020202020204" pitchFamily="34" charset="0"/>
            </a:endParaRPr>
          </a:p>
        </p:txBody>
      </p:sp>
      <p:grpSp>
        <p:nvGrpSpPr>
          <p:cNvPr id="2" name="Shape 1384">
            <a:extLst>
              <a:ext uri="{FF2B5EF4-FFF2-40B4-BE49-F238E27FC236}">
                <a16:creationId xmlns:a16="http://schemas.microsoft.com/office/drawing/2014/main" id="{FF57E8D9-D000-540F-C95B-78747B7FA8DD}"/>
              </a:ext>
            </a:extLst>
          </p:cNvPr>
          <p:cNvGrpSpPr/>
          <p:nvPr/>
        </p:nvGrpSpPr>
        <p:grpSpPr>
          <a:xfrm>
            <a:off x="279572" y="1181242"/>
            <a:ext cx="5391065" cy="3524443"/>
            <a:chOff x="5157992" y="1665628"/>
            <a:chExt cx="2936367" cy="1919171"/>
          </a:xfrm>
          <a:solidFill>
            <a:schemeClr val="bg1">
              <a:lumMod val="85000"/>
            </a:schemeClr>
          </a:solidFill>
        </p:grpSpPr>
        <p:sp>
          <p:nvSpPr>
            <p:cNvPr id="4" name="Shape 1385">
              <a:extLst>
                <a:ext uri="{FF2B5EF4-FFF2-40B4-BE49-F238E27FC236}">
                  <a16:creationId xmlns:a16="http://schemas.microsoft.com/office/drawing/2014/main" id="{BA935926-4D10-0AD8-6D4D-C8DE63933F88}"/>
                </a:ext>
              </a:extLst>
            </p:cNvPr>
            <p:cNvSpPr/>
            <p:nvPr/>
          </p:nvSpPr>
          <p:spPr>
            <a:xfrm>
              <a:off x="5379187" y="1665628"/>
              <a:ext cx="365958" cy="271518"/>
            </a:xfrm>
            <a:custGeom>
              <a:avLst/>
              <a:gdLst/>
              <a:ahLst/>
              <a:cxnLst/>
              <a:rect l="0" t="0" r="0" b="0"/>
              <a:pathLst>
                <a:path w="120000" h="120000" extrusionOk="0">
                  <a:moveTo>
                    <a:pt x="120000" y="29684"/>
                  </a:moveTo>
                  <a:cubicBezTo>
                    <a:pt x="120000" y="29684"/>
                    <a:pt x="108793" y="101684"/>
                    <a:pt x="106459" y="105473"/>
                  </a:cubicBezTo>
                  <a:cubicBezTo>
                    <a:pt x="104591" y="109894"/>
                    <a:pt x="106926" y="108631"/>
                    <a:pt x="106926" y="113052"/>
                  </a:cubicBezTo>
                  <a:cubicBezTo>
                    <a:pt x="106926" y="116842"/>
                    <a:pt x="105992" y="120000"/>
                    <a:pt x="105992" y="120000"/>
                  </a:cubicBezTo>
                  <a:cubicBezTo>
                    <a:pt x="75175" y="109263"/>
                    <a:pt x="75175" y="109263"/>
                    <a:pt x="75175" y="109263"/>
                  </a:cubicBezTo>
                  <a:cubicBezTo>
                    <a:pt x="70038" y="108631"/>
                    <a:pt x="70038" y="108631"/>
                    <a:pt x="70038" y="108631"/>
                  </a:cubicBezTo>
                  <a:cubicBezTo>
                    <a:pt x="68171" y="109263"/>
                    <a:pt x="68171" y="109263"/>
                    <a:pt x="68171" y="109263"/>
                  </a:cubicBezTo>
                  <a:cubicBezTo>
                    <a:pt x="65836" y="108631"/>
                    <a:pt x="65836" y="108631"/>
                    <a:pt x="65836" y="108631"/>
                  </a:cubicBezTo>
                  <a:cubicBezTo>
                    <a:pt x="63968" y="109263"/>
                    <a:pt x="63968" y="109263"/>
                    <a:pt x="63968" y="109263"/>
                  </a:cubicBezTo>
                  <a:cubicBezTo>
                    <a:pt x="50428" y="109894"/>
                    <a:pt x="50428" y="109894"/>
                    <a:pt x="50428" y="109894"/>
                  </a:cubicBezTo>
                  <a:cubicBezTo>
                    <a:pt x="49027" y="108631"/>
                    <a:pt x="49027" y="108631"/>
                    <a:pt x="49027" y="108631"/>
                  </a:cubicBezTo>
                  <a:cubicBezTo>
                    <a:pt x="47626" y="109263"/>
                    <a:pt x="47626" y="109263"/>
                    <a:pt x="47626" y="109263"/>
                  </a:cubicBezTo>
                  <a:cubicBezTo>
                    <a:pt x="46225" y="109894"/>
                    <a:pt x="46225" y="109894"/>
                    <a:pt x="46225" y="109894"/>
                  </a:cubicBezTo>
                  <a:cubicBezTo>
                    <a:pt x="45291" y="109894"/>
                    <a:pt x="45291" y="109894"/>
                    <a:pt x="45291" y="109894"/>
                  </a:cubicBezTo>
                  <a:cubicBezTo>
                    <a:pt x="43891" y="109263"/>
                    <a:pt x="43891" y="109263"/>
                    <a:pt x="43891" y="109263"/>
                  </a:cubicBezTo>
                  <a:cubicBezTo>
                    <a:pt x="43891" y="108631"/>
                    <a:pt x="43891" y="108631"/>
                    <a:pt x="43891" y="108631"/>
                  </a:cubicBezTo>
                  <a:cubicBezTo>
                    <a:pt x="41556" y="108631"/>
                    <a:pt x="41556" y="108631"/>
                    <a:pt x="41556" y="108631"/>
                  </a:cubicBezTo>
                  <a:cubicBezTo>
                    <a:pt x="40155" y="108000"/>
                    <a:pt x="40155" y="108000"/>
                    <a:pt x="40155" y="108000"/>
                  </a:cubicBezTo>
                  <a:cubicBezTo>
                    <a:pt x="39688" y="106736"/>
                    <a:pt x="39688" y="106736"/>
                    <a:pt x="39688" y="106736"/>
                  </a:cubicBezTo>
                  <a:cubicBezTo>
                    <a:pt x="39688" y="106105"/>
                    <a:pt x="39688" y="106105"/>
                    <a:pt x="39688" y="106105"/>
                  </a:cubicBezTo>
                  <a:cubicBezTo>
                    <a:pt x="37821" y="105473"/>
                    <a:pt x="37821" y="105473"/>
                    <a:pt x="37821" y="105473"/>
                  </a:cubicBezTo>
                  <a:cubicBezTo>
                    <a:pt x="34085" y="104210"/>
                    <a:pt x="34085" y="104210"/>
                    <a:pt x="34085" y="104210"/>
                  </a:cubicBezTo>
                  <a:cubicBezTo>
                    <a:pt x="31750" y="102947"/>
                    <a:pt x="31750" y="102947"/>
                    <a:pt x="31750" y="102947"/>
                  </a:cubicBezTo>
                  <a:cubicBezTo>
                    <a:pt x="30817" y="102315"/>
                    <a:pt x="30817" y="102315"/>
                    <a:pt x="30817" y="102315"/>
                  </a:cubicBezTo>
                  <a:cubicBezTo>
                    <a:pt x="28015" y="102947"/>
                    <a:pt x="28015" y="102947"/>
                    <a:pt x="28015" y="102947"/>
                  </a:cubicBezTo>
                  <a:cubicBezTo>
                    <a:pt x="23813" y="104210"/>
                    <a:pt x="23813" y="104210"/>
                    <a:pt x="23813" y="104210"/>
                  </a:cubicBezTo>
                  <a:cubicBezTo>
                    <a:pt x="18677" y="102315"/>
                    <a:pt x="18677" y="102315"/>
                    <a:pt x="18677" y="102315"/>
                  </a:cubicBezTo>
                  <a:cubicBezTo>
                    <a:pt x="15408" y="98526"/>
                    <a:pt x="15408" y="98526"/>
                    <a:pt x="15408" y="98526"/>
                  </a:cubicBezTo>
                  <a:cubicBezTo>
                    <a:pt x="15408" y="98526"/>
                    <a:pt x="16809" y="94105"/>
                    <a:pt x="16342" y="88421"/>
                  </a:cubicBezTo>
                  <a:cubicBezTo>
                    <a:pt x="15875" y="82105"/>
                    <a:pt x="13540" y="80842"/>
                    <a:pt x="13540" y="80842"/>
                  </a:cubicBezTo>
                  <a:cubicBezTo>
                    <a:pt x="11206" y="80842"/>
                    <a:pt x="11206" y="80842"/>
                    <a:pt x="11206" y="80842"/>
                  </a:cubicBezTo>
                  <a:cubicBezTo>
                    <a:pt x="9338" y="79578"/>
                    <a:pt x="9338" y="79578"/>
                    <a:pt x="9338" y="79578"/>
                  </a:cubicBezTo>
                  <a:cubicBezTo>
                    <a:pt x="9338" y="79578"/>
                    <a:pt x="9338" y="75789"/>
                    <a:pt x="7003" y="75789"/>
                  </a:cubicBezTo>
                  <a:cubicBezTo>
                    <a:pt x="4669" y="75789"/>
                    <a:pt x="4669" y="75789"/>
                    <a:pt x="4669" y="75789"/>
                  </a:cubicBezTo>
                  <a:cubicBezTo>
                    <a:pt x="1867" y="75157"/>
                    <a:pt x="1867" y="75157"/>
                    <a:pt x="1867" y="75157"/>
                  </a:cubicBezTo>
                  <a:cubicBezTo>
                    <a:pt x="0" y="73263"/>
                    <a:pt x="0" y="73263"/>
                    <a:pt x="0" y="73263"/>
                  </a:cubicBezTo>
                  <a:cubicBezTo>
                    <a:pt x="466" y="68842"/>
                    <a:pt x="466" y="68842"/>
                    <a:pt x="466" y="68842"/>
                  </a:cubicBezTo>
                  <a:cubicBezTo>
                    <a:pt x="1400" y="65052"/>
                    <a:pt x="1400" y="65052"/>
                    <a:pt x="1400" y="65052"/>
                  </a:cubicBezTo>
                  <a:cubicBezTo>
                    <a:pt x="1867" y="64421"/>
                    <a:pt x="1867" y="64421"/>
                    <a:pt x="1867" y="64421"/>
                  </a:cubicBezTo>
                  <a:cubicBezTo>
                    <a:pt x="2334" y="66315"/>
                    <a:pt x="2334" y="66315"/>
                    <a:pt x="2334" y="66315"/>
                  </a:cubicBezTo>
                  <a:cubicBezTo>
                    <a:pt x="2801" y="66947"/>
                    <a:pt x="2801" y="66947"/>
                    <a:pt x="2801" y="66947"/>
                  </a:cubicBezTo>
                  <a:cubicBezTo>
                    <a:pt x="3268" y="66315"/>
                    <a:pt x="3268" y="66315"/>
                    <a:pt x="3268" y="66315"/>
                  </a:cubicBezTo>
                  <a:cubicBezTo>
                    <a:pt x="3268" y="63789"/>
                    <a:pt x="3268" y="63789"/>
                    <a:pt x="3268" y="63789"/>
                  </a:cubicBezTo>
                  <a:cubicBezTo>
                    <a:pt x="5136" y="62526"/>
                    <a:pt x="5136" y="62526"/>
                    <a:pt x="5136" y="62526"/>
                  </a:cubicBezTo>
                  <a:cubicBezTo>
                    <a:pt x="5136" y="61894"/>
                    <a:pt x="5136" y="61894"/>
                    <a:pt x="5136" y="61894"/>
                  </a:cubicBezTo>
                  <a:cubicBezTo>
                    <a:pt x="4202" y="60631"/>
                    <a:pt x="4202" y="60631"/>
                    <a:pt x="4202" y="60631"/>
                  </a:cubicBezTo>
                  <a:cubicBezTo>
                    <a:pt x="3735" y="60000"/>
                    <a:pt x="3735" y="60000"/>
                    <a:pt x="3735" y="60000"/>
                  </a:cubicBezTo>
                  <a:cubicBezTo>
                    <a:pt x="3268" y="55578"/>
                    <a:pt x="3268" y="55578"/>
                    <a:pt x="3268" y="55578"/>
                  </a:cubicBezTo>
                  <a:cubicBezTo>
                    <a:pt x="6536" y="54947"/>
                    <a:pt x="6536" y="54947"/>
                    <a:pt x="6536" y="54947"/>
                  </a:cubicBezTo>
                  <a:cubicBezTo>
                    <a:pt x="7470" y="53684"/>
                    <a:pt x="7470" y="53684"/>
                    <a:pt x="7470" y="53684"/>
                  </a:cubicBezTo>
                  <a:cubicBezTo>
                    <a:pt x="4669" y="50526"/>
                    <a:pt x="4669" y="50526"/>
                    <a:pt x="4669" y="50526"/>
                  </a:cubicBezTo>
                  <a:cubicBezTo>
                    <a:pt x="3735" y="49263"/>
                    <a:pt x="3735" y="49263"/>
                    <a:pt x="3735" y="49263"/>
                  </a:cubicBezTo>
                  <a:cubicBezTo>
                    <a:pt x="2801" y="40421"/>
                    <a:pt x="2801" y="40421"/>
                    <a:pt x="2801" y="40421"/>
                  </a:cubicBezTo>
                  <a:cubicBezTo>
                    <a:pt x="2801" y="37894"/>
                    <a:pt x="2801" y="37894"/>
                    <a:pt x="2801" y="37894"/>
                  </a:cubicBezTo>
                  <a:cubicBezTo>
                    <a:pt x="3735" y="37263"/>
                    <a:pt x="3735" y="37263"/>
                    <a:pt x="3735" y="37263"/>
                  </a:cubicBezTo>
                  <a:cubicBezTo>
                    <a:pt x="3735" y="25894"/>
                    <a:pt x="3735" y="25894"/>
                    <a:pt x="3735" y="25894"/>
                  </a:cubicBezTo>
                  <a:cubicBezTo>
                    <a:pt x="1400" y="23368"/>
                    <a:pt x="1400" y="23368"/>
                    <a:pt x="1400" y="23368"/>
                  </a:cubicBezTo>
                  <a:cubicBezTo>
                    <a:pt x="1400" y="14526"/>
                    <a:pt x="1400" y="14526"/>
                    <a:pt x="1400" y="14526"/>
                  </a:cubicBezTo>
                  <a:cubicBezTo>
                    <a:pt x="3735" y="10736"/>
                    <a:pt x="3735" y="10736"/>
                    <a:pt x="3735" y="10736"/>
                  </a:cubicBezTo>
                  <a:cubicBezTo>
                    <a:pt x="4669" y="6315"/>
                    <a:pt x="4669" y="6315"/>
                    <a:pt x="4669" y="6315"/>
                  </a:cubicBezTo>
                  <a:cubicBezTo>
                    <a:pt x="9805" y="13263"/>
                    <a:pt x="9805" y="13263"/>
                    <a:pt x="9805" y="13263"/>
                  </a:cubicBezTo>
                  <a:cubicBezTo>
                    <a:pt x="15408" y="18947"/>
                    <a:pt x="15408" y="18947"/>
                    <a:pt x="15408" y="18947"/>
                  </a:cubicBezTo>
                  <a:cubicBezTo>
                    <a:pt x="19610" y="21473"/>
                    <a:pt x="19610" y="21473"/>
                    <a:pt x="19610" y="21473"/>
                  </a:cubicBezTo>
                  <a:cubicBezTo>
                    <a:pt x="22879" y="22736"/>
                    <a:pt x="22879" y="22736"/>
                    <a:pt x="22879" y="22736"/>
                  </a:cubicBezTo>
                  <a:cubicBezTo>
                    <a:pt x="24280" y="22736"/>
                    <a:pt x="24280" y="22736"/>
                    <a:pt x="24280" y="22736"/>
                  </a:cubicBezTo>
                  <a:cubicBezTo>
                    <a:pt x="25680" y="22736"/>
                    <a:pt x="25680" y="22736"/>
                    <a:pt x="25680" y="22736"/>
                  </a:cubicBezTo>
                  <a:cubicBezTo>
                    <a:pt x="26614" y="27157"/>
                    <a:pt x="26614" y="27157"/>
                    <a:pt x="26614" y="27157"/>
                  </a:cubicBezTo>
                  <a:cubicBezTo>
                    <a:pt x="30350" y="26526"/>
                    <a:pt x="30350" y="26526"/>
                    <a:pt x="30350" y="26526"/>
                  </a:cubicBezTo>
                  <a:cubicBezTo>
                    <a:pt x="30817" y="32842"/>
                    <a:pt x="30817" y="32842"/>
                    <a:pt x="30817" y="32842"/>
                  </a:cubicBezTo>
                  <a:cubicBezTo>
                    <a:pt x="29416" y="35368"/>
                    <a:pt x="29416" y="35368"/>
                    <a:pt x="29416" y="35368"/>
                  </a:cubicBezTo>
                  <a:cubicBezTo>
                    <a:pt x="25214" y="38526"/>
                    <a:pt x="25214" y="38526"/>
                    <a:pt x="25214" y="38526"/>
                  </a:cubicBezTo>
                  <a:cubicBezTo>
                    <a:pt x="22412" y="43578"/>
                    <a:pt x="22412" y="43578"/>
                    <a:pt x="22412" y="43578"/>
                  </a:cubicBezTo>
                  <a:cubicBezTo>
                    <a:pt x="21478" y="46105"/>
                    <a:pt x="21478" y="46105"/>
                    <a:pt x="21478" y="46105"/>
                  </a:cubicBezTo>
                  <a:cubicBezTo>
                    <a:pt x="22412" y="46736"/>
                    <a:pt x="22412" y="46736"/>
                    <a:pt x="22412" y="46736"/>
                  </a:cubicBezTo>
                  <a:cubicBezTo>
                    <a:pt x="24280" y="44210"/>
                    <a:pt x="24280" y="44210"/>
                    <a:pt x="24280" y="44210"/>
                  </a:cubicBezTo>
                  <a:cubicBezTo>
                    <a:pt x="25680" y="41684"/>
                    <a:pt x="25680" y="41684"/>
                    <a:pt x="25680" y="41684"/>
                  </a:cubicBezTo>
                  <a:cubicBezTo>
                    <a:pt x="29883" y="37894"/>
                    <a:pt x="29883" y="37894"/>
                    <a:pt x="29883" y="37894"/>
                  </a:cubicBezTo>
                  <a:cubicBezTo>
                    <a:pt x="32684" y="36000"/>
                    <a:pt x="32684" y="36000"/>
                    <a:pt x="32684" y="36000"/>
                  </a:cubicBezTo>
                  <a:cubicBezTo>
                    <a:pt x="32217" y="38526"/>
                    <a:pt x="32217" y="38526"/>
                    <a:pt x="32217" y="38526"/>
                  </a:cubicBezTo>
                  <a:cubicBezTo>
                    <a:pt x="30817" y="40421"/>
                    <a:pt x="30817" y="40421"/>
                    <a:pt x="30817" y="40421"/>
                  </a:cubicBezTo>
                  <a:cubicBezTo>
                    <a:pt x="28949" y="46736"/>
                    <a:pt x="28949" y="46736"/>
                    <a:pt x="28949" y="46736"/>
                  </a:cubicBezTo>
                  <a:cubicBezTo>
                    <a:pt x="24280" y="50526"/>
                    <a:pt x="24280" y="50526"/>
                    <a:pt x="24280" y="50526"/>
                  </a:cubicBezTo>
                  <a:cubicBezTo>
                    <a:pt x="21478" y="54315"/>
                    <a:pt x="21478" y="54315"/>
                    <a:pt x="21478" y="54315"/>
                  </a:cubicBezTo>
                  <a:cubicBezTo>
                    <a:pt x="21478" y="57473"/>
                    <a:pt x="21478" y="57473"/>
                    <a:pt x="21478" y="57473"/>
                  </a:cubicBezTo>
                  <a:cubicBezTo>
                    <a:pt x="23346" y="58105"/>
                    <a:pt x="23346" y="58105"/>
                    <a:pt x="23346" y="58105"/>
                  </a:cubicBezTo>
                  <a:cubicBezTo>
                    <a:pt x="25680" y="54947"/>
                    <a:pt x="25680" y="54947"/>
                    <a:pt x="25680" y="54947"/>
                  </a:cubicBezTo>
                  <a:cubicBezTo>
                    <a:pt x="28015" y="52421"/>
                    <a:pt x="28015" y="52421"/>
                    <a:pt x="28015" y="52421"/>
                  </a:cubicBezTo>
                  <a:cubicBezTo>
                    <a:pt x="30350" y="51789"/>
                    <a:pt x="30350" y="51789"/>
                    <a:pt x="30350" y="51789"/>
                  </a:cubicBezTo>
                  <a:cubicBezTo>
                    <a:pt x="32217" y="49263"/>
                    <a:pt x="32217" y="49263"/>
                    <a:pt x="32217" y="49263"/>
                  </a:cubicBezTo>
                  <a:cubicBezTo>
                    <a:pt x="33151" y="42947"/>
                    <a:pt x="33151" y="42947"/>
                    <a:pt x="33151" y="42947"/>
                  </a:cubicBezTo>
                  <a:cubicBezTo>
                    <a:pt x="35019" y="37894"/>
                    <a:pt x="35019" y="37894"/>
                    <a:pt x="35019" y="37894"/>
                  </a:cubicBezTo>
                  <a:cubicBezTo>
                    <a:pt x="37354" y="34105"/>
                    <a:pt x="37354" y="34105"/>
                    <a:pt x="37354" y="34105"/>
                  </a:cubicBezTo>
                  <a:cubicBezTo>
                    <a:pt x="37821" y="31578"/>
                    <a:pt x="37821" y="31578"/>
                    <a:pt x="37821" y="31578"/>
                  </a:cubicBezTo>
                  <a:cubicBezTo>
                    <a:pt x="36420" y="26526"/>
                    <a:pt x="36420" y="26526"/>
                    <a:pt x="36420" y="26526"/>
                  </a:cubicBezTo>
                  <a:cubicBezTo>
                    <a:pt x="36420" y="21473"/>
                    <a:pt x="36420" y="21473"/>
                    <a:pt x="36420" y="21473"/>
                  </a:cubicBezTo>
                  <a:cubicBezTo>
                    <a:pt x="35019" y="22105"/>
                    <a:pt x="35019" y="22105"/>
                    <a:pt x="35019" y="22105"/>
                  </a:cubicBezTo>
                  <a:cubicBezTo>
                    <a:pt x="34085" y="24000"/>
                    <a:pt x="34085" y="24000"/>
                    <a:pt x="34085" y="24000"/>
                  </a:cubicBezTo>
                  <a:cubicBezTo>
                    <a:pt x="34552" y="29052"/>
                    <a:pt x="34552" y="29052"/>
                    <a:pt x="34552" y="29052"/>
                  </a:cubicBezTo>
                  <a:cubicBezTo>
                    <a:pt x="35486" y="32842"/>
                    <a:pt x="35486" y="32842"/>
                    <a:pt x="35486" y="32842"/>
                  </a:cubicBezTo>
                  <a:cubicBezTo>
                    <a:pt x="35486" y="34105"/>
                    <a:pt x="35486" y="34105"/>
                    <a:pt x="35486" y="34105"/>
                  </a:cubicBezTo>
                  <a:cubicBezTo>
                    <a:pt x="34552" y="33473"/>
                    <a:pt x="34552" y="33473"/>
                    <a:pt x="34552" y="33473"/>
                  </a:cubicBezTo>
                  <a:cubicBezTo>
                    <a:pt x="33618" y="32210"/>
                    <a:pt x="33618" y="32210"/>
                    <a:pt x="33618" y="32210"/>
                  </a:cubicBezTo>
                  <a:cubicBezTo>
                    <a:pt x="32684" y="29052"/>
                    <a:pt x="32684" y="29052"/>
                    <a:pt x="32684" y="29052"/>
                  </a:cubicBezTo>
                  <a:cubicBezTo>
                    <a:pt x="31750" y="25894"/>
                    <a:pt x="31750" y="25894"/>
                    <a:pt x="31750" y="25894"/>
                  </a:cubicBezTo>
                  <a:cubicBezTo>
                    <a:pt x="31750" y="23368"/>
                    <a:pt x="31750" y="23368"/>
                    <a:pt x="31750" y="23368"/>
                  </a:cubicBezTo>
                  <a:cubicBezTo>
                    <a:pt x="34085" y="20210"/>
                    <a:pt x="34085" y="20210"/>
                    <a:pt x="34085" y="20210"/>
                  </a:cubicBezTo>
                  <a:cubicBezTo>
                    <a:pt x="35019" y="17684"/>
                    <a:pt x="35019" y="17684"/>
                    <a:pt x="35019" y="17684"/>
                  </a:cubicBezTo>
                  <a:cubicBezTo>
                    <a:pt x="34552" y="15157"/>
                    <a:pt x="34552" y="15157"/>
                    <a:pt x="34552" y="15157"/>
                  </a:cubicBezTo>
                  <a:cubicBezTo>
                    <a:pt x="36887" y="18315"/>
                    <a:pt x="36887" y="18315"/>
                    <a:pt x="36887" y="18315"/>
                  </a:cubicBezTo>
                  <a:cubicBezTo>
                    <a:pt x="37354" y="18947"/>
                    <a:pt x="37354" y="18947"/>
                    <a:pt x="37354" y="18947"/>
                  </a:cubicBezTo>
                  <a:cubicBezTo>
                    <a:pt x="37821" y="15157"/>
                    <a:pt x="37821" y="15157"/>
                    <a:pt x="37821" y="15157"/>
                  </a:cubicBezTo>
                  <a:cubicBezTo>
                    <a:pt x="36887" y="9473"/>
                    <a:pt x="36887" y="9473"/>
                    <a:pt x="36887" y="9473"/>
                  </a:cubicBezTo>
                  <a:cubicBezTo>
                    <a:pt x="37354" y="7578"/>
                    <a:pt x="37354" y="7578"/>
                    <a:pt x="37354" y="7578"/>
                  </a:cubicBezTo>
                  <a:cubicBezTo>
                    <a:pt x="35953" y="6947"/>
                    <a:pt x="35953" y="6947"/>
                    <a:pt x="35953" y="6947"/>
                  </a:cubicBezTo>
                  <a:cubicBezTo>
                    <a:pt x="35486" y="0"/>
                    <a:pt x="35486" y="0"/>
                    <a:pt x="35486" y="0"/>
                  </a:cubicBezTo>
                  <a:cubicBezTo>
                    <a:pt x="35486" y="0"/>
                    <a:pt x="62101" y="10105"/>
                    <a:pt x="67704" y="12000"/>
                  </a:cubicBezTo>
                  <a:cubicBezTo>
                    <a:pt x="72840" y="13894"/>
                    <a:pt x="107392" y="26526"/>
                    <a:pt x="109727" y="27157"/>
                  </a:cubicBezTo>
                  <a:cubicBezTo>
                    <a:pt x="112062" y="28421"/>
                    <a:pt x="114863" y="28421"/>
                    <a:pt x="114863" y="28421"/>
                  </a:cubicBezTo>
                  <a:lnTo>
                    <a:pt x="120000" y="29684"/>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6" name="Shape 1386">
              <a:extLst>
                <a:ext uri="{FF2B5EF4-FFF2-40B4-BE49-F238E27FC236}">
                  <a16:creationId xmlns:a16="http://schemas.microsoft.com/office/drawing/2014/main" id="{D7BBE3E3-B1D1-8855-3D2E-0617A7ACB6B4}"/>
                </a:ext>
              </a:extLst>
            </p:cNvPr>
            <p:cNvSpPr/>
            <p:nvPr/>
          </p:nvSpPr>
          <p:spPr>
            <a:xfrm>
              <a:off x="5925594" y="2621841"/>
              <a:ext cx="384509" cy="394627"/>
            </a:xfrm>
            <a:custGeom>
              <a:avLst/>
              <a:gdLst/>
              <a:ahLst/>
              <a:cxnLst/>
              <a:rect l="0" t="0" r="0" b="0"/>
              <a:pathLst>
                <a:path w="120000" h="120000" extrusionOk="0">
                  <a:moveTo>
                    <a:pt x="17894" y="0"/>
                  </a:moveTo>
                  <a:lnTo>
                    <a:pt x="119999" y="11794"/>
                  </a:lnTo>
                  <a:lnTo>
                    <a:pt x="119473" y="22564"/>
                  </a:lnTo>
                  <a:lnTo>
                    <a:pt x="117894" y="22564"/>
                  </a:lnTo>
                  <a:lnTo>
                    <a:pt x="110526" y="115897"/>
                  </a:lnTo>
                  <a:lnTo>
                    <a:pt x="47894" y="110256"/>
                  </a:lnTo>
                  <a:lnTo>
                    <a:pt x="47368" y="114871"/>
                  </a:lnTo>
                  <a:lnTo>
                    <a:pt x="16842" y="111794"/>
                  </a:lnTo>
                  <a:lnTo>
                    <a:pt x="15263" y="120000"/>
                  </a:lnTo>
                  <a:lnTo>
                    <a:pt x="0" y="117948"/>
                  </a:lnTo>
                  <a:lnTo>
                    <a:pt x="17894" y="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7" name="Shape 1387">
              <a:extLst>
                <a:ext uri="{FF2B5EF4-FFF2-40B4-BE49-F238E27FC236}">
                  <a16:creationId xmlns:a16="http://schemas.microsoft.com/office/drawing/2014/main" id="{2145DD55-E428-C556-38DE-CCC89B6E23DD}"/>
                </a:ext>
              </a:extLst>
            </p:cNvPr>
            <p:cNvSpPr/>
            <p:nvPr/>
          </p:nvSpPr>
          <p:spPr>
            <a:xfrm>
              <a:off x="6068941" y="2696044"/>
              <a:ext cx="762272" cy="752153"/>
            </a:xfrm>
            <a:custGeom>
              <a:avLst/>
              <a:gdLst/>
              <a:ahLst/>
              <a:cxnLst/>
              <a:rect l="0" t="0" r="0" b="0"/>
              <a:pathLst>
                <a:path w="120000" h="120000" extrusionOk="0">
                  <a:moveTo>
                    <a:pt x="118407" y="68071"/>
                  </a:moveTo>
                  <a:lnTo>
                    <a:pt x="118938" y="65919"/>
                  </a:lnTo>
                  <a:lnTo>
                    <a:pt x="120000" y="64573"/>
                  </a:lnTo>
                  <a:lnTo>
                    <a:pt x="119469" y="62959"/>
                  </a:lnTo>
                  <a:lnTo>
                    <a:pt x="118938" y="60807"/>
                  </a:lnTo>
                  <a:lnTo>
                    <a:pt x="118672" y="59999"/>
                  </a:lnTo>
                  <a:lnTo>
                    <a:pt x="118672" y="58385"/>
                  </a:lnTo>
                  <a:lnTo>
                    <a:pt x="118407" y="57847"/>
                  </a:lnTo>
                  <a:lnTo>
                    <a:pt x="117345" y="55426"/>
                  </a:lnTo>
                  <a:lnTo>
                    <a:pt x="117345" y="54887"/>
                  </a:lnTo>
                  <a:lnTo>
                    <a:pt x="115486" y="53273"/>
                  </a:lnTo>
                  <a:lnTo>
                    <a:pt x="115486" y="35246"/>
                  </a:lnTo>
                  <a:lnTo>
                    <a:pt x="112831" y="34977"/>
                  </a:lnTo>
                  <a:lnTo>
                    <a:pt x="112300" y="35515"/>
                  </a:lnTo>
                  <a:lnTo>
                    <a:pt x="111504" y="35246"/>
                  </a:lnTo>
                  <a:lnTo>
                    <a:pt x="110707" y="34439"/>
                  </a:lnTo>
                  <a:lnTo>
                    <a:pt x="109646" y="33901"/>
                  </a:lnTo>
                  <a:lnTo>
                    <a:pt x="108318" y="33901"/>
                  </a:lnTo>
                  <a:lnTo>
                    <a:pt x="106725" y="32825"/>
                  </a:lnTo>
                  <a:lnTo>
                    <a:pt x="105663" y="31479"/>
                  </a:lnTo>
                  <a:lnTo>
                    <a:pt x="104336" y="31210"/>
                  </a:lnTo>
                  <a:lnTo>
                    <a:pt x="102212" y="31748"/>
                  </a:lnTo>
                  <a:lnTo>
                    <a:pt x="101681" y="31479"/>
                  </a:lnTo>
                  <a:lnTo>
                    <a:pt x="100353" y="31210"/>
                  </a:lnTo>
                  <a:lnTo>
                    <a:pt x="99292" y="32017"/>
                  </a:lnTo>
                  <a:lnTo>
                    <a:pt x="98761" y="32286"/>
                  </a:lnTo>
                  <a:lnTo>
                    <a:pt x="97964" y="31748"/>
                  </a:lnTo>
                  <a:lnTo>
                    <a:pt x="96902" y="31748"/>
                  </a:lnTo>
                  <a:lnTo>
                    <a:pt x="96371" y="32556"/>
                  </a:lnTo>
                  <a:lnTo>
                    <a:pt x="95044" y="33363"/>
                  </a:lnTo>
                  <a:lnTo>
                    <a:pt x="93982" y="33632"/>
                  </a:lnTo>
                  <a:lnTo>
                    <a:pt x="93451" y="32825"/>
                  </a:lnTo>
                  <a:lnTo>
                    <a:pt x="92654" y="32017"/>
                  </a:lnTo>
                  <a:lnTo>
                    <a:pt x="90530" y="32286"/>
                  </a:lnTo>
                  <a:lnTo>
                    <a:pt x="89203" y="31479"/>
                  </a:lnTo>
                  <a:lnTo>
                    <a:pt x="88141" y="31748"/>
                  </a:lnTo>
                  <a:lnTo>
                    <a:pt x="87610" y="32825"/>
                  </a:lnTo>
                  <a:lnTo>
                    <a:pt x="87079" y="33094"/>
                  </a:lnTo>
                  <a:lnTo>
                    <a:pt x="86814" y="31748"/>
                  </a:lnTo>
                  <a:lnTo>
                    <a:pt x="86283" y="31210"/>
                  </a:lnTo>
                  <a:lnTo>
                    <a:pt x="84690" y="32286"/>
                  </a:lnTo>
                  <a:lnTo>
                    <a:pt x="84424" y="31210"/>
                  </a:lnTo>
                  <a:lnTo>
                    <a:pt x="82831" y="30134"/>
                  </a:lnTo>
                  <a:lnTo>
                    <a:pt x="82300" y="30134"/>
                  </a:lnTo>
                  <a:lnTo>
                    <a:pt x="81769" y="30941"/>
                  </a:lnTo>
                  <a:lnTo>
                    <a:pt x="80973" y="31479"/>
                  </a:lnTo>
                  <a:lnTo>
                    <a:pt x="80176" y="31210"/>
                  </a:lnTo>
                  <a:lnTo>
                    <a:pt x="79911" y="29865"/>
                  </a:lnTo>
                  <a:lnTo>
                    <a:pt x="79115" y="29865"/>
                  </a:lnTo>
                  <a:lnTo>
                    <a:pt x="78318" y="28251"/>
                  </a:lnTo>
                  <a:lnTo>
                    <a:pt x="76194" y="28251"/>
                  </a:lnTo>
                  <a:lnTo>
                    <a:pt x="75398" y="28789"/>
                  </a:lnTo>
                  <a:lnTo>
                    <a:pt x="74601" y="27982"/>
                  </a:lnTo>
                  <a:lnTo>
                    <a:pt x="74336" y="27982"/>
                  </a:lnTo>
                  <a:lnTo>
                    <a:pt x="73008" y="28251"/>
                  </a:lnTo>
                  <a:lnTo>
                    <a:pt x="71415" y="27174"/>
                  </a:lnTo>
                  <a:lnTo>
                    <a:pt x="69292" y="27174"/>
                  </a:lnTo>
                  <a:lnTo>
                    <a:pt x="68761" y="25291"/>
                  </a:lnTo>
                  <a:lnTo>
                    <a:pt x="67699" y="24753"/>
                  </a:lnTo>
                  <a:lnTo>
                    <a:pt x="67168" y="25022"/>
                  </a:lnTo>
                  <a:lnTo>
                    <a:pt x="66371" y="24753"/>
                  </a:lnTo>
                  <a:lnTo>
                    <a:pt x="65575" y="25022"/>
                  </a:lnTo>
                  <a:lnTo>
                    <a:pt x="64778" y="25022"/>
                  </a:lnTo>
                  <a:lnTo>
                    <a:pt x="64247" y="24215"/>
                  </a:lnTo>
                  <a:lnTo>
                    <a:pt x="62389" y="22331"/>
                  </a:lnTo>
                  <a:lnTo>
                    <a:pt x="63451" y="1614"/>
                  </a:lnTo>
                  <a:lnTo>
                    <a:pt x="36902" y="0"/>
                  </a:lnTo>
                  <a:lnTo>
                    <a:pt x="33185" y="48968"/>
                  </a:lnTo>
                  <a:lnTo>
                    <a:pt x="1592" y="46008"/>
                  </a:lnTo>
                  <a:lnTo>
                    <a:pt x="1327" y="48430"/>
                  </a:lnTo>
                  <a:lnTo>
                    <a:pt x="0" y="48430"/>
                  </a:lnTo>
                  <a:lnTo>
                    <a:pt x="530" y="49237"/>
                  </a:lnTo>
                  <a:lnTo>
                    <a:pt x="1858" y="50044"/>
                  </a:lnTo>
                  <a:lnTo>
                    <a:pt x="2654" y="51121"/>
                  </a:lnTo>
                  <a:lnTo>
                    <a:pt x="2920" y="51928"/>
                  </a:lnTo>
                  <a:lnTo>
                    <a:pt x="3451" y="53004"/>
                  </a:lnTo>
                  <a:lnTo>
                    <a:pt x="3982" y="53273"/>
                  </a:lnTo>
                  <a:lnTo>
                    <a:pt x="4778" y="53811"/>
                  </a:lnTo>
                  <a:lnTo>
                    <a:pt x="5575" y="54349"/>
                  </a:lnTo>
                  <a:lnTo>
                    <a:pt x="5840" y="55156"/>
                  </a:lnTo>
                  <a:lnTo>
                    <a:pt x="6902" y="56502"/>
                  </a:lnTo>
                  <a:lnTo>
                    <a:pt x="7964" y="57309"/>
                  </a:lnTo>
                  <a:lnTo>
                    <a:pt x="10088" y="60269"/>
                  </a:lnTo>
                  <a:lnTo>
                    <a:pt x="10884" y="60269"/>
                  </a:lnTo>
                  <a:lnTo>
                    <a:pt x="11681" y="61076"/>
                  </a:lnTo>
                  <a:lnTo>
                    <a:pt x="12743" y="61883"/>
                  </a:lnTo>
                  <a:lnTo>
                    <a:pt x="14070" y="62959"/>
                  </a:lnTo>
                  <a:lnTo>
                    <a:pt x="14601" y="64035"/>
                  </a:lnTo>
                  <a:lnTo>
                    <a:pt x="14601" y="65919"/>
                  </a:lnTo>
                  <a:lnTo>
                    <a:pt x="15663" y="67533"/>
                  </a:lnTo>
                  <a:lnTo>
                    <a:pt x="15929" y="68609"/>
                  </a:lnTo>
                  <a:lnTo>
                    <a:pt x="15663" y="69686"/>
                  </a:lnTo>
                  <a:lnTo>
                    <a:pt x="15663" y="71031"/>
                  </a:lnTo>
                  <a:lnTo>
                    <a:pt x="15929" y="72645"/>
                  </a:lnTo>
                  <a:lnTo>
                    <a:pt x="17256" y="73991"/>
                  </a:lnTo>
                  <a:lnTo>
                    <a:pt x="17522" y="74798"/>
                  </a:lnTo>
                  <a:lnTo>
                    <a:pt x="17787" y="75067"/>
                  </a:lnTo>
                  <a:lnTo>
                    <a:pt x="18318" y="75605"/>
                  </a:lnTo>
                  <a:lnTo>
                    <a:pt x="18849" y="76143"/>
                  </a:lnTo>
                  <a:lnTo>
                    <a:pt x="19646" y="76950"/>
                  </a:lnTo>
                  <a:lnTo>
                    <a:pt x="20707" y="77757"/>
                  </a:lnTo>
                  <a:lnTo>
                    <a:pt x="21504" y="78565"/>
                  </a:lnTo>
                  <a:lnTo>
                    <a:pt x="22300" y="78834"/>
                  </a:lnTo>
                  <a:lnTo>
                    <a:pt x="23362" y="79641"/>
                  </a:lnTo>
                  <a:lnTo>
                    <a:pt x="24955" y="80448"/>
                  </a:lnTo>
                  <a:lnTo>
                    <a:pt x="26814" y="81793"/>
                  </a:lnTo>
                  <a:lnTo>
                    <a:pt x="27610" y="82062"/>
                  </a:lnTo>
                  <a:lnTo>
                    <a:pt x="28938" y="82600"/>
                  </a:lnTo>
                  <a:lnTo>
                    <a:pt x="30000" y="82600"/>
                  </a:lnTo>
                  <a:lnTo>
                    <a:pt x="30530" y="81524"/>
                  </a:lnTo>
                  <a:lnTo>
                    <a:pt x="31327" y="80717"/>
                  </a:lnTo>
                  <a:lnTo>
                    <a:pt x="31858" y="80179"/>
                  </a:lnTo>
                  <a:lnTo>
                    <a:pt x="32654" y="79910"/>
                  </a:lnTo>
                  <a:lnTo>
                    <a:pt x="32654" y="78565"/>
                  </a:lnTo>
                  <a:lnTo>
                    <a:pt x="33185" y="77488"/>
                  </a:lnTo>
                  <a:lnTo>
                    <a:pt x="33716" y="76143"/>
                  </a:lnTo>
                  <a:lnTo>
                    <a:pt x="35044" y="74529"/>
                  </a:lnTo>
                  <a:lnTo>
                    <a:pt x="36902" y="74260"/>
                  </a:lnTo>
                  <a:lnTo>
                    <a:pt x="37964" y="73991"/>
                  </a:lnTo>
                  <a:lnTo>
                    <a:pt x="39292" y="73991"/>
                  </a:lnTo>
                  <a:lnTo>
                    <a:pt x="40619" y="74529"/>
                  </a:lnTo>
                  <a:lnTo>
                    <a:pt x="42212" y="74798"/>
                  </a:lnTo>
                  <a:lnTo>
                    <a:pt x="43008" y="74798"/>
                  </a:lnTo>
                  <a:lnTo>
                    <a:pt x="45132" y="75067"/>
                  </a:lnTo>
                  <a:lnTo>
                    <a:pt x="45929" y="75605"/>
                  </a:lnTo>
                  <a:lnTo>
                    <a:pt x="46725" y="77219"/>
                  </a:lnTo>
                  <a:lnTo>
                    <a:pt x="47256" y="77219"/>
                  </a:lnTo>
                  <a:lnTo>
                    <a:pt x="48584" y="78565"/>
                  </a:lnTo>
                  <a:lnTo>
                    <a:pt x="49646" y="79103"/>
                  </a:lnTo>
                  <a:lnTo>
                    <a:pt x="50442" y="80717"/>
                  </a:lnTo>
                  <a:lnTo>
                    <a:pt x="52035" y="82869"/>
                  </a:lnTo>
                  <a:lnTo>
                    <a:pt x="53097" y="86098"/>
                  </a:lnTo>
                  <a:lnTo>
                    <a:pt x="53893" y="87174"/>
                  </a:lnTo>
                  <a:lnTo>
                    <a:pt x="54955" y="89327"/>
                  </a:lnTo>
                  <a:lnTo>
                    <a:pt x="54955" y="90134"/>
                  </a:lnTo>
                  <a:lnTo>
                    <a:pt x="55752" y="92286"/>
                  </a:lnTo>
                  <a:lnTo>
                    <a:pt x="57876" y="94170"/>
                  </a:lnTo>
                  <a:lnTo>
                    <a:pt x="58407" y="96322"/>
                  </a:lnTo>
                  <a:lnTo>
                    <a:pt x="61061" y="99551"/>
                  </a:lnTo>
                  <a:lnTo>
                    <a:pt x="62389" y="100089"/>
                  </a:lnTo>
                  <a:lnTo>
                    <a:pt x="62123" y="102511"/>
                  </a:lnTo>
                  <a:lnTo>
                    <a:pt x="61592" y="103049"/>
                  </a:lnTo>
                  <a:lnTo>
                    <a:pt x="62123" y="103587"/>
                  </a:lnTo>
                  <a:lnTo>
                    <a:pt x="62920" y="104394"/>
                  </a:lnTo>
                  <a:lnTo>
                    <a:pt x="62920" y="106008"/>
                  </a:lnTo>
                  <a:lnTo>
                    <a:pt x="64513" y="108968"/>
                  </a:lnTo>
                  <a:lnTo>
                    <a:pt x="65309" y="110582"/>
                  </a:lnTo>
                  <a:lnTo>
                    <a:pt x="66106" y="111928"/>
                  </a:lnTo>
                  <a:lnTo>
                    <a:pt x="66637" y="113273"/>
                  </a:lnTo>
                  <a:lnTo>
                    <a:pt x="68761" y="113542"/>
                  </a:lnTo>
                  <a:lnTo>
                    <a:pt x="70088" y="114887"/>
                  </a:lnTo>
                  <a:lnTo>
                    <a:pt x="72477" y="114887"/>
                  </a:lnTo>
                  <a:lnTo>
                    <a:pt x="74336" y="116771"/>
                  </a:lnTo>
                  <a:lnTo>
                    <a:pt x="75398" y="116771"/>
                  </a:lnTo>
                  <a:lnTo>
                    <a:pt x="75929" y="117578"/>
                  </a:lnTo>
                  <a:lnTo>
                    <a:pt x="77256" y="117847"/>
                  </a:lnTo>
                  <a:lnTo>
                    <a:pt x="77522" y="117309"/>
                  </a:lnTo>
                  <a:lnTo>
                    <a:pt x="80176" y="117847"/>
                  </a:lnTo>
                  <a:lnTo>
                    <a:pt x="80176" y="118116"/>
                  </a:lnTo>
                  <a:lnTo>
                    <a:pt x="80973" y="118923"/>
                  </a:lnTo>
                  <a:lnTo>
                    <a:pt x="82300" y="119999"/>
                  </a:lnTo>
                  <a:lnTo>
                    <a:pt x="83097" y="119461"/>
                  </a:lnTo>
                  <a:lnTo>
                    <a:pt x="83362" y="118923"/>
                  </a:lnTo>
                  <a:lnTo>
                    <a:pt x="85221" y="118654"/>
                  </a:lnTo>
                  <a:lnTo>
                    <a:pt x="84690" y="117309"/>
                  </a:lnTo>
                  <a:lnTo>
                    <a:pt x="84690" y="116502"/>
                  </a:lnTo>
                  <a:lnTo>
                    <a:pt x="84424" y="115426"/>
                  </a:lnTo>
                  <a:lnTo>
                    <a:pt x="84159" y="114349"/>
                  </a:lnTo>
                  <a:lnTo>
                    <a:pt x="83362" y="113811"/>
                  </a:lnTo>
                  <a:lnTo>
                    <a:pt x="82831" y="112197"/>
                  </a:lnTo>
                  <a:lnTo>
                    <a:pt x="82566" y="110582"/>
                  </a:lnTo>
                  <a:lnTo>
                    <a:pt x="81769" y="108699"/>
                  </a:lnTo>
                  <a:lnTo>
                    <a:pt x="81769" y="107085"/>
                  </a:lnTo>
                  <a:lnTo>
                    <a:pt x="82566" y="104663"/>
                  </a:lnTo>
                  <a:lnTo>
                    <a:pt x="83362" y="102242"/>
                  </a:lnTo>
                  <a:lnTo>
                    <a:pt x="84424" y="99551"/>
                  </a:lnTo>
                  <a:lnTo>
                    <a:pt x="84159" y="99013"/>
                  </a:lnTo>
                  <a:lnTo>
                    <a:pt x="83362" y="98475"/>
                  </a:lnTo>
                  <a:lnTo>
                    <a:pt x="82566" y="97668"/>
                  </a:lnTo>
                  <a:lnTo>
                    <a:pt x="82566" y="97130"/>
                  </a:lnTo>
                  <a:lnTo>
                    <a:pt x="83097" y="97399"/>
                  </a:lnTo>
                  <a:lnTo>
                    <a:pt x="85486" y="97130"/>
                  </a:lnTo>
                  <a:lnTo>
                    <a:pt x="85752" y="97130"/>
                  </a:lnTo>
                  <a:lnTo>
                    <a:pt x="86548" y="95515"/>
                  </a:lnTo>
                  <a:lnTo>
                    <a:pt x="85752" y="95515"/>
                  </a:lnTo>
                  <a:lnTo>
                    <a:pt x="85486" y="94977"/>
                  </a:lnTo>
                  <a:lnTo>
                    <a:pt x="85486" y="94439"/>
                  </a:lnTo>
                  <a:lnTo>
                    <a:pt x="86017" y="94170"/>
                  </a:lnTo>
                  <a:lnTo>
                    <a:pt x="87079" y="94170"/>
                  </a:lnTo>
                  <a:lnTo>
                    <a:pt x="88407" y="94170"/>
                  </a:lnTo>
                  <a:lnTo>
                    <a:pt x="88938" y="94439"/>
                  </a:lnTo>
                  <a:lnTo>
                    <a:pt x="89734" y="94170"/>
                  </a:lnTo>
                  <a:lnTo>
                    <a:pt x="91061" y="93094"/>
                  </a:lnTo>
                  <a:lnTo>
                    <a:pt x="90530" y="93094"/>
                  </a:lnTo>
                  <a:lnTo>
                    <a:pt x="89469" y="93901"/>
                  </a:lnTo>
                  <a:lnTo>
                    <a:pt x="89203" y="92825"/>
                  </a:lnTo>
                  <a:lnTo>
                    <a:pt x="89734" y="91210"/>
                  </a:lnTo>
                  <a:lnTo>
                    <a:pt x="90265" y="91748"/>
                  </a:lnTo>
                  <a:lnTo>
                    <a:pt x="90796" y="92017"/>
                  </a:lnTo>
                  <a:lnTo>
                    <a:pt x="92123" y="92017"/>
                  </a:lnTo>
                  <a:lnTo>
                    <a:pt x="92654" y="91479"/>
                  </a:lnTo>
                  <a:lnTo>
                    <a:pt x="92389" y="90403"/>
                  </a:lnTo>
                  <a:lnTo>
                    <a:pt x="91592" y="89327"/>
                  </a:lnTo>
                  <a:lnTo>
                    <a:pt x="91858" y="89058"/>
                  </a:lnTo>
                  <a:lnTo>
                    <a:pt x="92654" y="89058"/>
                  </a:lnTo>
                  <a:lnTo>
                    <a:pt x="93451" y="88520"/>
                  </a:lnTo>
                  <a:lnTo>
                    <a:pt x="93982" y="89058"/>
                  </a:lnTo>
                  <a:lnTo>
                    <a:pt x="94778" y="88520"/>
                  </a:lnTo>
                  <a:lnTo>
                    <a:pt x="95044" y="89058"/>
                  </a:lnTo>
                  <a:lnTo>
                    <a:pt x="95840" y="89596"/>
                  </a:lnTo>
                  <a:lnTo>
                    <a:pt x="96637" y="89058"/>
                  </a:lnTo>
                  <a:lnTo>
                    <a:pt x="97433" y="88520"/>
                  </a:lnTo>
                  <a:lnTo>
                    <a:pt x="99292" y="87982"/>
                  </a:lnTo>
                  <a:lnTo>
                    <a:pt x="101150" y="87713"/>
                  </a:lnTo>
                  <a:lnTo>
                    <a:pt x="104070" y="86098"/>
                  </a:lnTo>
                  <a:lnTo>
                    <a:pt x="104867" y="84484"/>
                  </a:lnTo>
                  <a:lnTo>
                    <a:pt x="105132" y="83139"/>
                  </a:lnTo>
                  <a:lnTo>
                    <a:pt x="105929" y="82600"/>
                  </a:lnTo>
                  <a:lnTo>
                    <a:pt x="106725" y="82331"/>
                  </a:lnTo>
                  <a:lnTo>
                    <a:pt x="106991" y="82062"/>
                  </a:lnTo>
                  <a:lnTo>
                    <a:pt x="107787" y="81524"/>
                  </a:lnTo>
                  <a:lnTo>
                    <a:pt x="107522" y="80717"/>
                  </a:lnTo>
                  <a:lnTo>
                    <a:pt x="107256" y="79910"/>
                  </a:lnTo>
                  <a:lnTo>
                    <a:pt x="106991" y="79641"/>
                  </a:lnTo>
                  <a:lnTo>
                    <a:pt x="106725" y="79103"/>
                  </a:lnTo>
                  <a:lnTo>
                    <a:pt x="106991" y="78295"/>
                  </a:lnTo>
                  <a:lnTo>
                    <a:pt x="108053" y="77488"/>
                  </a:lnTo>
                  <a:lnTo>
                    <a:pt x="108849" y="76950"/>
                  </a:lnTo>
                  <a:lnTo>
                    <a:pt x="109380" y="76950"/>
                  </a:lnTo>
                  <a:lnTo>
                    <a:pt x="109380" y="77757"/>
                  </a:lnTo>
                  <a:lnTo>
                    <a:pt x="109380" y="78834"/>
                  </a:lnTo>
                  <a:lnTo>
                    <a:pt x="109380" y="80448"/>
                  </a:lnTo>
                  <a:lnTo>
                    <a:pt x="109646" y="80717"/>
                  </a:lnTo>
                  <a:lnTo>
                    <a:pt x="111238" y="79372"/>
                  </a:lnTo>
                  <a:lnTo>
                    <a:pt x="112566" y="79103"/>
                  </a:lnTo>
                  <a:lnTo>
                    <a:pt x="116548" y="77488"/>
                  </a:lnTo>
                  <a:lnTo>
                    <a:pt x="117079" y="77219"/>
                  </a:lnTo>
                  <a:lnTo>
                    <a:pt x="117876" y="75874"/>
                  </a:lnTo>
                  <a:lnTo>
                    <a:pt x="118672" y="73183"/>
                  </a:lnTo>
                  <a:lnTo>
                    <a:pt x="118672" y="72107"/>
                  </a:lnTo>
                  <a:lnTo>
                    <a:pt x="117876" y="70224"/>
                  </a:lnTo>
                  <a:lnTo>
                    <a:pt x="118407" y="68878"/>
                  </a:lnTo>
                  <a:lnTo>
                    <a:pt x="118407" y="68071"/>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8" name="Shape 1388">
              <a:extLst>
                <a:ext uri="{FF2B5EF4-FFF2-40B4-BE49-F238E27FC236}">
                  <a16:creationId xmlns:a16="http://schemas.microsoft.com/office/drawing/2014/main" id="{B36B4564-0A10-B570-4986-0E561D473CDC}"/>
                </a:ext>
              </a:extLst>
            </p:cNvPr>
            <p:cNvSpPr/>
            <p:nvPr/>
          </p:nvSpPr>
          <p:spPr>
            <a:xfrm>
              <a:off x="5613601" y="2574619"/>
              <a:ext cx="369329" cy="435102"/>
            </a:xfrm>
            <a:custGeom>
              <a:avLst/>
              <a:gdLst/>
              <a:ahLst/>
              <a:cxnLst/>
              <a:rect l="0" t="0" r="0" b="0"/>
              <a:pathLst>
                <a:path w="120000" h="120000" extrusionOk="0">
                  <a:moveTo>
                    <a:pt x="33822" y="0"/>
                  </a:moveTo>
                  <a:cubicBezTo>
                    <a:pt x="33822" y="0"/>
                    <a:pt x="31969" y="7500"/>
                    <a:pt x="31505" y="9868"/>
                  </a:cubicBezTo>
                  <a:cubicBezTo>
                    <a:pt x="30579" y="11447"/>
                    <a:pt x="28725" y="16973"/>
                    <a:pt x="28725" y="16973"/>
                  </a:cubicBezTo>
                  <a:cubicBezTo>
                    <a:pt x="27335" y="17763"/>
                    <a:pt x="27335" y="17763"/>
                    <a:pt x="27335" y="17763"/>
                  </a:cubicBezTo>
                  <a:cubicBezTo>
                    <a:pt x="25945" y="16973"/>
                    <a:pt x="25945" y="16973"/>
                    <a:pt x="25945" y="16973"/>
                  </a:cubicBezTo>
                  <a:cubicBezTo>
                    <a:pt x="23629" y="15394"/>
                    <a:pt x="23629" y="15394"/>
                    <a:pt x="23629" y="15394"/>
                  </a:cubicBezTo>
                  <a:cubicBezTo>
                    <a:pt x="21776" y="16184"/>
                    <a:pt x="21776" y="16184"/>
                    <a:pt x="21776" y="16184"/>
                  </a:cubicBezTo>
                  <a:cubicBezTo>
                    <a:pt x="20849" y="14605"/>
                    <a:pt x="20849" y="14605"/>
                    <a:pt x="20849" y="14605"/>
                  </a:cubicBezTo>
                  <a:cubicBezTo>
                    <a:pt x="17606" y="15394"/>
                    <a:pt x="17606" y="15394"/>
                    <a:pt x="17606" y="15394"/>
                  </a:cubicBezTo>
                  <a:cubicBezTo>
                    <a:pt x="16216" y="16578"/>
                    <a:pt x="16216" y="16578"/>
                    <a:pt x="16216" y="16578"/>
                  </a:cubicBezTo>
                  <a:cubicBezTo>
                    <a:pt x="16216" y="20921"/>
                    <a:pt x="16216" y="20921"/>
                    <a:pt x="16216" y="20921"/>
                  </a:cubicBezTo>
                  <a:cubicBezTo>
                    <a:pt x="16216" y="26447"/>
                    <a:pt x="16216" y="26447"/>
                    <a:pt x="16216" y="26447"/>
                  </a:cubicBezTo>
                  <a:cubicBezTo>
                    <a:pt x="16216" y="31578"/>
                    <a:pt x="16216" y="31578"/>
                    <a:pt x="16216" y="31578"/>
                  </a:cubicBezTo>
                  <a:cubicBezTo>
                    <a:pt x="15752" y="33157"/>
                    <a:pt x="15752" y="33157"/>
                    <a:pt x="15752" y="33157"/>
                  </a:cubicBezTo>
                  <a:cubicBezTo>
                    <a:pt x="14362" y="35131"/>
                    <a:pt x="14362" y="35131"/>
                    <a:pt x="14362" y="35131"/>
                  </a:cubicBezTo>
                  <a:cubicBezTo>
                    <a:pt x="13899" y="37105"/>
                    <a:pt x="13899" y="37105"/>
                    <a:pt x="13899" y="37105"/>
                  </a:cubicBezTo>
                  <a:cubicBezTo>
                    <a:pt x="13899" y="39868"/>
                    <a:pt x="13899" y="39868"/>
                    <a:pt x="13899" y="39868"/>
                  </a:cubicBezTo>
                  <a:cubicBezTo>
                    <a:pt x="15752" y="43421"/>
                    <a:pt x="15752" y="43421"/>
                    <a:pt x="15752" y="43421"/>
                  </a:cubicBezTo>
                  <a:cubicBezTo>
                    <a:pt x="16216" y="46973"/>
                    <a:pt x="16216" y="46973"/>
                    <a:pt x="16216" y="46973"/>
                  </a:cubicBezTo>
                  <a:cubicBezTo>
                    <a:pt x="17142" y="48157"/>
                    <a:pt x="17142" y="48157"/>
                    <a:pt x="17142" y="48157"/>
                  </a:cubicBezTo>
                  <a:cubicBezTo>
                    <a:pt x="19459" y="50526"/>
                    <a:pt x="19459" y="50526"/>
                    <a:pt x="19459" y="50526"/>
                  </a:cubicBezTo>
                  <a:cubicBezTo>
                    <a:pt x="18069" y="51315"/>
                    <a:pt x="18069" y="51315"/>
                    <a:pt x="18069" y="51315"/>
                  </a:cubicBezTo>
                  <a:cubicBezTo>
                    <a:pt x="15752" y="52894"/>
                    <a:pt x="15752" y="52894"/>
                    <a:pt x="15752" y="52894"/>
                  </a:cubicBezTo>
                  <a:cubicBezTo>
                    <a:pt x="11119" y="55657"/>
                    <a:pt x="11119" y="55657"/>
                    <a:pt x="11119" y="55657"/>
                  </a:cubicBezTo>
                  <a:cubicBezTo>
                    <a:pt x="9729" y="60789"/>
                    <a:pt x="9729" y="60789"/>
                    <a:pt x="9729" y="60789"/>
                  </a:cubicBezTo>
                  <a:cubicBezTo>
                    <a:pt x="7876" y="63947"/>
                    <a:pt x="7876" y="63947"/>
                    <a:pt x="7876" y="63947"/>
                  </a:cubicBezTo>
                  <a:cubicBezTo>
                    <a:pt x="6023" y="65526"/>
                    <a:pt x="6023" y="65526"/>
                    <a:pt x="6023" y="65526"/>
                  </a:cubicBezTo>
                  <a:cubicBezTo>
                    <a:pt x="5096" y="65921"/>
                    <a:pt x="5096" y="65921"/>
                    <a:pt x="5096" y="65921"/>
                  </a:cubicBezTo>
                  <a:cubicBezTo>
                    <a:pt x="4169" y="67500"/>
                    <a:pt x="4169" y="67500"/>
                    <a:pt x="4169" y="67500"/>
                  </a:cubicBezTo>
                  <a:cubicBezTo>
                    <a:pt x="4633" y="70263"/>
                    <a:pt x="4633" y="70263"/>
                    <a:pt x="4633" y="70263"/>
                  </a:cubicBezTo>
                  <a:cubicBezTo>
                    <a:pt x="4169" y="72236"/>
                    <a:pt x="4169" y="72236"/>
                    <a:pt x="4169" y="72236"/>
                  </a:cubicBezTo>
                  <a:cubicBezTo>
                    <a:pt x="6949" y="74210"/>
                    <a:pt x="6949" y="74210"/>
                    <a:pt x="6949" y="74210"/>
                  </a:cubicBezTo>
                  <a:cubicBezTo>
                    <a:pt x="6023" y="75789"/>
                    <a:pt x="6023" y="75789"/>
                    <a:pt x="6023" y="75789"/>
                  </a:cubicBezTo>
                  <a:cubicBezTo>
                    <a:pt x="2316" y="77368"/>
                    <a:pt x="2316" y="77368"/>
                    <a:pt x="2316" y="77368"/>
                  </a:cubicBezTo>
                  <a:cubicBezTo>
                    <a:pt x="1389" y="78947"/>
                    <a:pt x="1389" y="78947"/>
                    <a:pt x="1389" y="78947"/>
                  </a:cubicBezTo>
                  <a:cubicBezTo>
                    <a:pt x="0" y="81315"/>
                    <a:pt x="0" y="81315"/>
                    <a:pt x="0" y="81315"/>
                  </a:cubicBezTo>
                  <a:cubicBezTo>
                    <a:pt x="64401" y="114868"/>
                    <a:pt x="64401" y="114868"/>
                    <a:pt x="64401" y="114868"/>
                  </a:cubicBezTo>
                  <a:cubicBezTo>
                    <a:pt x="84324" y="118026"/>
                    <a:pt x="84324" y="118026"/>
                    <a:pt x="84324" y="118026"/>
                  </a:cubicBezTo>
                  <a:cubicBezTo>
                    <a:pt x="101003" y="120000"/>
                    <a:pt x="101003" y="120000"/>
                    <a:pt x="101003" y="120000"/>
                  </a:cubicBezTo>
                  <a:cubicBezTo>
                    <a:pt x="101467" y="120000"/>
                    <a:pt x="101467" y="120000"/>
                    <a:pt x="101467" y="120000"/>
                  </a:cubicBezTo>
                  <a:cubicBezTo>
                    <a:pt x="120000" y="13026"/>
                    <a:pt x="120000" y="13026"/>
                    <a:pt x="120000" y="13026"/>
                  </a:cubicBezTo>
                  <a:lnTo>
                    <a:pt x="33822" y="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9" name="Shape 1389">
              <a:extLst>
                <a:ext uri="{FF2B5EF4-FFF2-40B4-BE49-F238E27FC236}">
                  <a16:creationId xmlns:a16="http://schemas.microsoft.com/office/drawing/2014/main" id="{250D5F54-2DB1-4F41-20DE-38BF73481808}"/>
                </a:ext>
              </a:extLst>
            </p:cNvPr>
            <p:cNvSpPr/>
            <p:nvPr/>
          </p:nvSpPr>
          <p:spPr>
            <a:xfrm>
              <a:off x="5239212" y="2105790"/>
              <a:ext cx="433414" cy="750466"/>
            </a:xfrm>
            <a:custGeom>
              <a:avLst/>
              <a:gdLst/>
              <a:ahLst/>
              <a:cxnLst/>
              <a:rect l="0" t="0" r="0" b="0"/>
              <a:pathLst>
                <a:path w="120000" h="120000" extrusionOk="0">
                  <a:moveTo>
                    <a:pt x="108793" y="118921"/>
                  </a:moveTo>
                  <a:lnTo>
                    <a:pt x="109260" y="118112"/>
                  </a:lnTo>
                  <a:lnTo>
                    <a:pt x="106926" y="116764"/>
                  </a:lnTo>
                  <a:lnTo>
                    <a:pt x="107392" y="115685"/>
                  </a:lnTo>
                  <a:lnTo>
                    <a:pt x="106926" y="114067"/>
                  </a:lnTo>
                  <a:lnTo>
                    <a:pt x="107859" y="113258"/>
                  </a:lnTo>
                  <a:lnTo>
                    <a:pt x="108793" y="112988"/>
                  </a:lnTo>
                  <a:lnTo>
                    <a:pt x="110194" y="112179"/>
                  </a:lnTo>
                  <a:lnTo>
                    <a:pt x="111595" y="110292"/>
                  </a:lnTo>
                  <a:lnTo>
                    <a:pt x="112996" y="107325"/>
                  </a:lnTo>
                  <a:lnTo>
                    <a:pt x="116731" y="105707"/>
                  </a:lnTo>
                  <a:lnTo>
                    <a:pt x="119066" y="104629"/>
                  </a:lnTo>
                  <a:lnTo>
                    <a:pt x="120000" y="104359"/>
                  </a:lnTo>
                  <a:lnTo>
                    <a:pt x="118132" y="103011"/>
                  </a:lnTo>
                  <a:lnTo>
                    <a:pt x="117198" y="102202"/>
                  </a:lnTo>
                  <a:lnTo>
                    <a:pt x="116731" y="100314"/>
                  </a:lnTo>
                  <a:lnTo>
                    <a:pt x="115330" y="98157"/>
                  </a:lnTo>
                  <a:lnTo>
                    <a:pt x="115330" y="96539"/>
                  </a:lnTo>
                  <a:lnTo>
                    <a:pt x="115797" y="95460"/>
                  </a:lnTo>
                  <a:lnTo>
                    <a:pt x="115797" y="95191"/>
                  </a:lnTo>
                  <a:lnTo>
                    <a:pt x="55097" y="42606"/>
                  </a:lnTo>
                  <a:lnTo>
                    <a:pt x="53696" y="42067"/>
                  </a:lnTo>
                  <a:lnTo>
                    <a:pt x="53229" y="41797"/>
                  </a:lnTo>
                  <a:lnTo>
                    <a:pt x="52762" y="41258"/>
                  </a:lnTo>
                  <a:lnTo>
                    <a:pt x="52295" y="40449"/>
                  </a:lnTo>
                  <a:lnTo>
                    <a:pt x="52762" y="39640"/>
                  </a:lnTo>
                  <a:lnTo>
                    <a:pt x="54630" y="39370"/>
                  </a:lnTo>
                  <a:lnTo>
                    <a:pt x="55564" y="39101"/>
                  </a:lnTo>
                  <a:lnTo>
                    <a:pt x="69105" y="9438"/>
                  </a:lnTo>
                  <a:lnTo>
                    <a:pt x="12140" y="0"/>
                  </a:lnTo>
                  <a:lnTo>
                    <a:pt x="11673" y="1078"/>
                  </a:lnTo>
                  <a:lnTo>
                    <a:pt x="10739" y="1348"/>
                  </a:lnTo>
                  <a:lnTo>
                    <a:pt x="10739" y="2426"/>
                  </a:lnTo>
                  <a:lnTo>
                    <a:pt x="10739" y="3235"/>
                  </a:lnTo>
                  <a:lnTo>
                    <a:pt x="10739" y="5662"/>
                  </a:lnTo>
                  <a:lnTo>
                    <a:pt x="10272" y="6741"/>
                  </a:lnTo>
                  <a:lnTo>
                    <a:pt x="8871" y="8089"/>
                  </a:lnTo>
                  <a:lnTo>
                    <a:pt x="7937" y="8898"/>
                  </a:lnTo>
                  <a:lnTo>
                    <a:pt x="7937" y="9168"/>
                  </a:lnTo>
                  <a:lnTo>
                    <a:pt x="7937" y="10786"/>
                  </a:lnTo>
                  <a:lnTo>
                    <a:pt x="6070" y="12134"/>
                  </a:lnTo>
                  <a:lnTo>
                    <a:pt x="3268" y="13483"/>
                  </a:lnTo>
                  <a:lnTo>
                    <a:pt x="933" y="14831"/>
                  </a:lnTo>
                  <a:lnTo>
                    <a:pt x="466" y="15370"/>
                  </a:lnTo>
                  <a:lnTo>
                    <a:pt x="0" y="16719"/>
                  </a:lnTo>
                  <a:lnTo>
                    <a:pt x="0" y="17797"/>
                  </a:lnTo>
                  <a:lnTo>
                    <a:pt x="466" y="19146"/>
                  </a:lnTo>
                  <a:lnTo>
                    <a:pt x="1400" y="20224"/>
                  </a:lnTo>
                  <a:lnTo>
                    <a:pt x="3268" y="21842"/>
                  </a:lnTo>
                  <a:lnTo>
                    <a:pt x="3735" y="22921"/>
                  </a:lnTo>
                  <a:lnTo>
                    <a:pt x="4202" y="24269"/>
                  </a:lnTo>
                  <a:lnTo>
                    <a:pt x="4202" y="26426"/>
                  </a:lnTo>
                  <a:lnTo>
                    <a:pt x="2801" y="28044"/>
                  </a:lnTo>
                  <a:lnTo>
                    <a:pt x="2334" y="29662"/>
                  </a:lnTo>
                  <a:lnTo>
                    <a:pt x="2334" y="31550"/>
                  </a:lnTo>
                  <a:lnTo>
                    <a:pt x="1867" y="32359"/>
                  </a:lnTo>
                  <a:lnTo>
                    <a:pt x="933" y="32898"/>
                  </a:lnTo>
                  <a:lnTo>
                    <a:pt x="1400" y="33977"/>
                  </a:lnTo>
                  <a:lnTo>
                    <a:pt x="3268" y="35865"/>
                  </a:lnTo>
                  <a:lnTo>
                    <a:pt x="5136" y="39101"/>
                  </a:lnTo>
                  <a:lnTo>
                    <a:pt x="7003" y="41258"/>
                  </a:lnTo>
                  <a:lnTo>
                    <a:pt x="7937" y="42067"/>
                  </a:lnTo>
                  <a:lnTo>
                    <a:pt x="7937" y="43415"/>
                  </a:lnTo>
                  <a:lnTo>
                    <a:pt x="7470" y="44224"/>
                  </a:lnTo>
                  <a:lnTo>
                    <a:pt x="6536" y="44764"/>
                  </a:lnTo>
                  <a:lnTo>
                    <a:pt x="6536" y="45573"/>
                  </a:lnTo>
                  <a:lnTo>
                    <a:pt x="8404" y="45573"/>
                  </a:lnTo>
                  <a:lnTo>
                    <a:pt x="9338" y="46382"/>
                  </a:lnTo>
                  <a:lnTo>
                    <a:pt x="10739" y="47460"/>
                  </a:lnTo>
                  <a:lnTo>
                    <a:pt x="11206" y="48000"/>
                  </a:lnTo>
                  <a:lnTo>
                    <a:pt x="12607" y="48269"/>
                  </a:lnTo>
                  <a:lnTo>
                    <a:pt x="13540" y="47191"/>
                  </a:lnTo>
                  <a:lnTo>
                    <a:pt x="13540" y="45842"/>
                  </a:lnTo>
                  <a:lnTo>
                    <a:pt x="15875" y="45573"/>
                  </a:lnTo>
                  <a:lnTo>
                    <a:pt x="17276" y="46382"/>
                  </a:lnTo>
                  <a:lnTo>
                    <a:pt x="20544" y="46382"/>
                  </a:lnTo>
                  <a:lnTo>
                    <a:pt x="22412" y="47460"/>
                  </a:lnTo>
                  <a:lnTo>
                    <a:pt x="23813" y="47730"/>
                  </a:lnTo>
                  <a:lnTo>
                    <a:pt x="24747" y="48000"/>
                  </a:lnTo>
                  <a:lnTo>
                    <a:pt x="23813" y="48539"/>
                  </a:lnTo>
                  <a:lnTo>
                    <a:pt x="22879" y="48269"/>
                  </a:lnTo>
                  <a:lnTo>
                    <a:pt x="21011" y="47730"/>
                  </a:lnTo>
                  <a:lnTo>
                    <a:pt x="20544" y="47730"/>
                  </a:lnTo>
                  <a:lnTo>
                    <a:pt x="18677" y="47460"/>
                  </a:lnTo>
                  <a:lnTo>
                    <a:pt x="17743" y="47191"/>
                  </a:lnTo>
                  <a:lnTo>
                    <a:pt x="16342" y="46921"/>
                  </a:lnTo>
                  <a:lnTo>
                    <a:pt x="15408" y="47191"/>
                  </a:lnTo>
                  <a:lnTo>
                    <a:pt x="15408" y="47730"/>
                  </a:lnTo>
                  <a:lnTo>
                    <a:pt x="15408" y="49617"/>
                  </a:lnTo>
                  <a:lnTo>
                    <a:pt x="16342" y="50426"/>
                  </a:lnTo>
                  <a:lnTo>
                    <a:pt x="15875" y="52314"/>
                  </a:lnTo>
                  <a:lnTo>
                    <a:pt x="15408" y="52314"/>
                  </a:lnTo>
                  <a:lnTo>
                    <a:pt x="14007" y="51775"/>
                  </a:lnTo>
                  <a:lnTo>
                    <a:pt x="13540" y="51235"/>
                  </a:lnTo>
                  <a:lnTo>
                    <a:pt x="13540" y="50157"/>
                  </a:lnTo>
                  <a:lnTo>
                    <a:pt x="13540" y="49887"/>
                  </a:lnTo>
                  <a:lnTo>
                    <a:pt x="13073" y="49617"/>
                  </a:lnTo>
                  <a:lnTo>
                    <a:pt x="11673" y="49348"/>
                  </a:lnTo>
                  <a:lnTo>
                    <a:pt x="11206" y="50426"/>
                  </a:lnTo>
                  <a:lnTo>
                    <a:pt x="10739" y="50966"/>
                  </a:lnTo>
                  <a:lnTo>
                    <a:pt x="10739" y="52584"/>
                  </a:lnTo>
                  <a:lnTo>
                    <a:pt x="10739" y="55011"/>
                  </a:lnTo>
                  <a:lnTo>
                    <a:pt x="10739" y="56359"/>
                  </a:lnTo>
                  <a:lnTo>
                    <a:pt x="12140" y="57707"/>
                  </a:lnTo>
                  <a:lnTo>
                    <a:pt x="14007" y="58516"/>
                  </a:lnTo>
                  <a:lnTo>
                    <a:pt x="15875" y="59325"/>
                  </a:lnTo>
                  <a:lnTo>
                    <a:pt x="16342" y="60674"/>
                  </a:lnTo>
                  <a:lnTo>
                    <a:pt x="16342" y="61752"/>
                  </a:lnTo>
                  <a:lnTo>
                    <a:pt x="15875" y="62831"/>
                  </a:lnTo>
                  <a:lnTo>
                    <a:pt x="14474" y="63101"/>
                  </a:lnTo>
                  <a:lnTo>
                    <a:pt x="13073" y="63101"/>
                  </a:lnTo>
                  <a:lnTo>
                    <a:pt x="13073" y="65797"/>
                  </a:lnTo>
                  <a:lnTo>
                    <a:pt x="13540" y="66606"/>
                  </a:lnTo>
                  <a:lnTo>
                    <a:pt x="15875" y="68764"/>
                  </a:lnTo>
                  <a:lnTo>
                    <a:pt x="16342" y="70382"/>
                  </a:lnTo>
                  <a:lnTo>
                    <a:pt x="18677" y="72269"/>
                  </a:lnTo>
                  <a:lnTo>
                    <a:pt x="19610" y="74157"/>
                  </a:lnTo>
                  <a:lnTo>
                    <a:pt x="21011" y="75505"/>
                  </a:lnTo>
                  <a:lnTo>
                    <a:pt x="22412" y="77393"/>
                  </a:lnTo>
                  <a:lnTo>
                    <a:pt x="23346" y="77662"/>
                  </a:lnTo>
                  <a:lnTo>
                    <a:pt x="23346" y="79011"/>
                  </a:lnTo>
                  <a:lnTo>
                    <a:pt x="23346" y="79820"/>
                  </a:lnTo>
                  <a:lnTo>
                    <a:pt x="23346" y="80359"/>
                  </a:lnTo>
                  <a:lnTo>
                    <a:pt x="24280" y="80898"/>
                  </a:lnTo>
                  <a:lnTo>
                    <a:pt x="24747" y="81707"/>
                  </a:lnTo>
                  <a:lnTo>
                    <a:pt x="24747" y="82786"/>
                  </a:lnTo>
                  <a:lnTo>
                    <a:pt x="24280" y="85213"/>
                  </a:lnTo>
                  <a:lnTo>
                    <a:pt x="23813" y="86831"/>
                  </a:lnTo>
                  <a:lnTo>
                    <a:pt x="23346" y="88179"/>
                  </a:lnTo>
                  <a:lnTo>
                    <a:pt x="27548" y="89528"/>
                  </a:lnTo>
                  <a:lnTo>
                    <a:pt x="31284" y="90337"/>
                  </a:lnTo>
                  <a:lnTo>
                    <a:pt x="34085" y="91415"/>
                  </a:lnTo>
                  <a:lnTo>
                    <a:pt x="38287" y="92224"/>
                  </a:lnTo>
                  <a:lnTo>
                    <a:pt x="39688" y="93033"/>
                  </a:lnTo>
                  <a:lnTo>
                    <a:pt x="42490" y="95730"/>
                  </a:lnTo>
                  <a:lnTo>
                    <a:pt x="46225" y="97617"/>
                  </a:lnTo>
                  <a:lnTo>
                    <a:pt x="51828" y="98426"/>
                  </a:lnTo>
                  <a:lnTo>
                    <a:pt x="52295" y="100853"/>
                  </a:lnTo>
                  <a:lnTo>
                    <a:pt x="53229" y="101932"/>
                  </a:lnTo>
                  <a:lnTo>
                    <a:pt x="56498" y="102471"/>
                  </a:lnTo>
                  <a:lnTo>
                    <a:pt x="59766" y="104629"/>
                  </a:lnTo>
                  <a:lnTo>
                    <a:pt x="63501" y="107865"/>
                  </a:lnTo>
                  <a:lnTo>
                    <a:pt x="65369" y="109213"/>
                  </a:lnTo>
                  <a:lnTo>
                    <a:pt x="66770" y="111640"/>
                  </a:lnTo>
                  <a:lnTo>
                    <a:pt x="65369" y="113797"/>
                  </a:lnTo>
                  <a:lnTo>
                    <a:pt x="65369" y="115146"/>
                  </a:lnTo>
                  <a:lnTo>
                    <a:pt x="66770" y="117033"/>
                  </a:lnTo>
                  <a:lnTo>
                    <a:pt x="68638" y="117303"/>
                  </a:lnTo>
                  <a:lnTo>
                    <a:pt x="105058" y="120000"/>
                  </a:lnTo>
                  <a:lnTo>
                    <a:pt x="105525" y="119730"/>
                  </a:lnTo>
                  <a:lnTo>
                    <a:pt x="108793" y="118921"/>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0" name="Shape 1390">
              <a:extLst>
                <a:ext uri="{FF2B5EF4-FFF2-40B4-BE49-F238E27FC236}">
                  <a16:creationId xmlns:a16="http://schemas.microsoft.com/office/drawing/2014/main" id="{0959210D-6C5D-183B-142F-F4C7149CE975}"/>
                </a:ext>
              </a:extLst>
            </p:cNvPr>
            <p:cNvSpPr/>
            <p:nvPr/>
          </p:nvSpPr>
          <p:spPr>
            <a:xfrm>
              <a:off x="6303357" y="2660630"/>
              <a:ext cx="473890" cy="254653"/>
            </a:xfrm>
            <a:custGeom>
              <a:avLst/>
              <a:gdLst/>
              <a:ahLst/>
              <a:cxnLst/>
              <a:rect l="0" t="0" r="0" b="0"/>
              <a:pathLst>
                <a:path w="120000" h="120000" extrusionOk="0">
                  <a:moveTo>
                    <a:pt x="0" y="16853"/>
                  </a:moveTo>
                  <a:cubicBezTo>
                    <a:pt x="0" y="18876"/>
                    <a:pt x="0" y="18876"/>
                    <a:pt x="0" y="18876"/>
                  </a:cubicBezTo>
                  <a:cubicBezTo>
                    <a:pt x="0" y="16853"/>
                    <a:pt x="0" y="16853"/>
                    <a:pt x="0" y="16853"/>
                  </a:cubicBezTo>
                  <a:cubicBezTo>
                    <a:pt x="42650" y="21573"/>
                    <a:pt x="42650" y="21573"/>
                    <a:pt x="42650" y="21573"/>
                  </a:cubicBezTo>
                  <a:cubicBezTo>
                    <a:pt x="40843" y="82921"/>
                    <a:pt x="40843" y="82921"/>
                    <a:pt x="40843" y="82921"/>
                  </a:cubicBezTo>
                  <a:cubicBezTo>
                    <a:pt x="43734" y="88314"/>
                    <a:pt x="43734" y="88314"/>
                    <a:pt x="43734" y="88314"/>
                  </a:cubicBezTo>
                  <a:cubicBezTo>
                    <a:pt x="44819" y="90337"/>
                    <a:pt x="44819" y="90337"/>
                    <a:pt x="44819" y="90337"/>
                  </a:cubicBezTo>
                  <a:cubicBezTo>
                    <a:pt x="45903" y="90337"/>
                    <a:pt x="45903" y="90337"/>
                    <a:pt x="45903" y="90337"/>
                  </a:cubicBezTo>
                  <a:cubicBezTo>
                    <a:pt x="47349" y="89662"/>
                    <a:pt x="47349" y="89662"/>
                    <a:pt x="47349" y="89662"/>
                  </a:cubicBezTo>
                  <a:cubicBezTo>
                    <a:pt x="48433" y="90337"/>
                    <a:pt x="48433" y="90337"/>
                    <a:pt x="48433" y="90337"/>
                  </a:cubicBezTo>
                  <a:cubicBezTo>
                    <a:pt x="49518" y="89662"/>
                    <a:pt x="49518" y="89662"/>
                    <a:pt x="49518" y="89662"/>
                  </a:cubicBezTo>
                  <a:cubicBezTo>
                    <a:pt x="50963" y="91011"/>
                    <a:pt x="50963" y="91011"/>
                    <a:pt x="50963" y="91011"/>
                  </a:cubicBezTo>
                  <a:cubicBezTo>
                    <a:pt x="52048" y="97078"/>
                    <a:pt x="52048" y="97078"/>
                    <a:pt x="52048" y="97078"/>
                  </a:cubicBezTo>
                  <a:cubicBezTo>
                    <a:pt x="55301" y="97078"/>
                    <a:pt x="55301" y="97078"/>
                    <a:pt x="55301" y="97078"/>
                  </a:cubicBezTo>
                  <a:cubicBezTo>
                    <a:pt x="57831" y="99775"/>
                    <a:pt x="57831" y="99775"/>
                    <a:pt x="57831" y="99775"/>
                  </a:cubicBezTo>
                  <a:cubicBezTo>
                    <a:pt x="59999" y="99101"/>
                    <a:pt x="59999" y="99101"/>
                    <a:pt x="59999" y="99101"/>
                  </a:cubicBezTo>
                  <a:cubicBezTo>
                    <a:pt x="60361" y="99101"/>
                    <a:pt x="60361" y="99101"/>
                    <a:pt x="60361" y="99101"/>
                  </a:cubicBezTo>
                  <a:cubicBezTo>
                    <a:pt x="61807" y="101797"/>
                    <a:pt x="61807" y="101797"/>
                    <a:pt x="61807" y="101797"/>
                  </a:cubicBezTo>
                  <a:cubicBezTo>
                    <a:pt x="63253" y="99775"/>
                    <a:pt x="63253" y="99775"/>
                    <a:pt x="63253" y="99775"/>
                  </a:cubicBezTo>
                  <a:cubicBezTo>
                    <a:pt x="66506" y="100449"/>
                    <a:pt x="66506" y="100449"/>
                    <a:pt x="66506" y="100449"/>
                  </a:cubicBezTo>
                  <a:cubicBezTo>
                    <a:pt x="67951" y="105168"/>
                    <a:pt x="67951" y="105168"/>
                    <a:pt x="67951" y="105168"/>
                  </a:cubicBezTo>
                  <a:cubicBezTo>
                    <a:pt x="69036" y="105168"/>
                    <a:pt x="69036" y="105168"/>
                    <a:pt x="69036" y="105168"/>
                  </a:cubicBezTo>
                  <a:cubicBezTo>
                    <a:pt x="69397" y="109213"/>
                    <a:pt x="69397" y="109213"/>
                    <a:pt x="69397" y="109213"/>
                  </a:cubicBezTo>
                  <a:cubicBezTo>
                    <a:pt x="70843" y="109887"/>
                    <a:pt x="70843" y="109887"/>
                    <a:pt x="70843" y="109887"/>
                  </a:cubicBezTo>
                  <a:cubicBezTo>
                    <a:pt x="72289" y="107865"/>
                    <a:pt x="72289" y="107865"/>
                    <a:pt x="72289" y="107865"/>
                  </a:cubicBezTo>
                  <a:cubicBezTo>
                    <a:pt x="73012" y="105842"/>
                    <a:pt x="73012" y="105842"/>
                    <a:pt x="73012" y="105842"/>
                  </a:cubicBezTo>
                  <a:cubicBezTo>
                    <a:pt x="73734" y="105842"/>
                    <a:pt x="73734" y="105842"/>
                    <a:pt x="73734" y="105842"/>
                  </a:cubicBezTo>
                  <a:cubicBezTo>
                    <a:pt x="76265" y="109213"/>
                    <a:pt x="76265" y="109213"/>
                    <a:pt x="76265" y="109213"/>
                  </a:cubicBezTo>
                  <a:cubicBezTo>
                    <a:pt x="76987" y="111910"/>
                    <a:pt x="76987" y="111910"/>
                    <a:pt x="76987" y="111910"/>
                  </a:cubicBezTo>
                  <a:cubicBezTo>
                    <a:pt x="79518" y="109213"/>
                    <a:pt x="79518" y="109213"/>
                    <a:pt x="79518" y="109213"/>
                  </a:cubicBezTo>
                  <a:cubicBezTo>
                    <a:pt x="80240" y="110561"/>
                    <a:pt x="80240" y="110561"/>
                    <a:pt x="80240" y="110561"/>
                  </a:cubicBezTo>
                  <a:cubicBezTo>
                    <a:pt x="80602" y="114606"/>
                    <a:pt x="80602" y="114606"/>
                    <a:pt x="80602" y="114606"/>
                  </a:cubicBezTo>
                  <a:cubicBezTo>
                    <a:pt x="81325" y="113932"/>
                    <a:pt x="81325" y="113932"/>
                    <a:pt x="81325" y="113932"/>
                  </a:cubicBezTo>
                  <a:cubicBezTo>
                    <a:pt x="82409" y="110561"/>
                    <a:pt x="82409" y="110561"/>
                    <a:pt x="82409" y="110561"/>
                  </a:cubicBezTo>
                  <a:cubicBezTo>
                    <a:pt x="84216" y="109887"/>
                    <a:pt x="84216" y="109887"/>
                    <a:pt x="84216" y="109887"/>
                  </a:cubicBezTo>
                  <a:cubicBezTo>
                    <a:pt x="86385" y="111910"/>
                    <a:pt x="86385" y="111910"/>
                    <a:pt x="86385" y="111910"/>
                  </a:cubicBezTo>
                  <a:cubicBezTo>
                    <a:pt x="89638" y="111235"/>
                    <a:pt x="89638" y="111235"/>
                    <a:pt x="89638" y="111235"/>
                  </a:cubicBezTo>
                  <a:cubicBezTo>
                    <a:pt x="91084" y="113932"/>
                    <a:pt x="91084" y="113932"/>
                    <a:pt x="91084" y="113932"/>
                  </a:cubicBezTo>
                  <a:cubicBezTo>
                    <a:pt x="91807" y="115955"/>
                    <a:pt x="91807" y="115955"/>
                    <a:pt x="91807" y="115955"/>
                  </a:cubicBezTo>
                  <a:cubicBezTo>
                    <a:pt x="93614" y="115280"/>
                    <a:pt x="93614" y="115280"/>
                    <a:pt x="93614" y="115280"/>
                  </a:cubicBezTo>
                  <a:cubicBezTo>
                    <a:pt x="95421" y="112584"/>
                    <a:pt x="95421" y="112584"/>
                    <a:pt x="95421" y="112584"/>
                  </a:cubicBezTo>
                  <a:cubicBezTo>
                    <a:pt x="96506" y="110561"/>
                    <a:pt x="96506" y="110561"/>
                    <a:pt x="96506" y="110561"/>
                  </a:cubicBezTo>
                  <a:cubicBezTo>
                    <a:pt x="97951" y="110561"/>
                    <a:pt x="97951" y="110561"/>
                    <a:pt x="97951" y="110561"/>
                  </a:cubicBezTo>
                  <a:cubicBezTo>
                    <a:pt x="99397" y="111910"/>
                    <a:pt x="99397" y="111910"/>
                    <a:pt x="99397" y="111910"/>
                  </a:cubicBezTo>
                  <a:cubicBezTo>
                    <a:pt x="100481" y="111235"/>
                    <a:pt x="100481" y="111235"/>
                    <a:pt x="100481" y="111235"/>
                  </a:cubicBezTo>
                  <a:cubicBezTo>
                    <a:pt x="101927" y="109213"/>
                    <a:pt x="101927" y="109213"/>
                    <a:pt x="101927" y="109213"/>
                  </a:cubicBezTo>
                  <a:cubicBezTo>
                    <a:pt x="104096" y="109887"/>
                    <a:pt x="104096" y="109887"/>
                    <a:pt x="104096" y="109887"/>
                  </a:cubicBezTo>
                  <a:cubicBezTo>
                    <a:pt x="105180" y="110561"/>
                    <a:pt x="105180" y="110561"/>
                    <a:pt x="105180" y="110561"/>
                  </a:cubicBezTo>
                  <a:cubicBezTo>
                    <a:pt x="108433" y="108539"/>
                    <a:pt x="108433" y="108539"/>
                    <a:pt x="108433" y="108539"/>
                  </a:cubicBezTo>
                  <a:cubicBezTo>
                    <a:pt x="110602" y="109887"/>
                    <a:pt x="110602" y="109887"/>
                    <a:pt x="110602" y="109887"/>
                  </a:cubicBezTo>
                  <a:cubicBezTo>
                    <a:pt x="112409" y="113258"/>
                    <a:pt x="112409" y="113258"/>
                    <a:pt x="112409" y="113258"/>
                  </a:cubicBezTo>
                  <a:cubicBezTo>
                    <a:pt x="114939" y="116629"/>
                    <a:pt x="114939" y="116629"/>
                    <a:pt x="114939" y="116629"/>
                  </a:cubicBezTo>
                  <a:cubicBezTo>
                    <a:pt x="117108" y="116629"/>
                    <a:pt x="117108" y="116629"/>
                    <a:pt x="117108" y="116629"/>
                  </a:cubicBezTo>
                  <a:cubicBezTo>
                    <a:pt x="118554" y="118651"/>
                    <a:pt x="118554" y="118651"/>
                    <a:pt x="118554" y="118651"/>
                  </a:cubicBezTo>
                  <a:cubicBezTo>
                    <a:pt x="119638" y="120000"/>
                    <a:pt x="119638" y="120000"/>
                    <a:pt x="119638" y="120000"/>
                  </a:cubicBezTo>
                  <a:cubicBezTo>
                    <a:pt x="119999" y="59325"/>
                    <a:pt x="119999" y="59325"/>
                    <a:pt x="119999" y="59325"/>
                  </a:cubicBezTo>
                  <a:cubicBezTo>
                    <a:pt x="117108" y="24943"/>
                    <a:pt x="117108" y="24943"/>
                    <a:pt x="117108" y="24943"/>
                  </a:cubicBezTo>
                  <a:cubicBezTo>
                    <a:pt x="117108" y="8089"/>
                    <a:pt x="117108" y="8089"/>
                    <a:pt x="117108" y="8089"/>
                  </a:cubicBezTo>
                  <a:cubicBezTo>
                    <a:pt x="117108" y="8089"/>
                    <a:pt x="76265" y="6741"/>
                    <a:pt x="63253" y="6067"/>
                  </a:cubicBezTo>
                  <a:cubicBezTo>
                    <a:pt x="47349" y="4719"/>
                    <a:pt x="1445" y="0"/>
                    <a:pt x="1445" y="0"/>
                  </a:cubicBezTo>
                  <a:cubicBezTo>
                    <a:pt x="1084" y="16853"/>
                    <a:pt x="1084" y="16853"/>
                    <a:pt x="1084" y="16853"/>
                  </a:cubicBezTo>
                  <a:lnTo>
                    <a:pt x="0" y="16853"/>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1" name="Shape 1391">
              <a:extLst>
                <a:ext uri="{FF2B5EF4-FFF2-40B4-BE49-F238E27FC236}">
                  <a16:creationId xmlns:a16="http://schemas.microsoft.com/office/drawing/2014/main" id="{DF6E3B5F-2C80-DCE8-E957-AF56B7168B63}"/>
                </a:ext>
              </a:extLst>
            </p:cNvPr>
            <p:cNvSpPr/>
            <p:nvPr/>
          </p:nvSpPr>
          <p:spPr>
            <a:xfrm>
              <a:off x="6364069" y="2454883"/>
              <a:ext cx="401372" cy="222611"/>
            </a:xfrm>
            <a:custGeom>
              <a:avLst/>
              <a:gdLst/>
              <a:ahLst/>
              <a:cxnLst/>
              <a:rect l="0" t="0" r="0" b="0"/>
              <a:pathLst>
                <a:path w="120000" h="120000" extrusionOk="0">
                  <a:moveTo>
                    <a:pt x="120000" y="120000"/>
                  </a:moveTo>
                  <a:cubicBezTo>
                    <a:pt x="120000" y="40000"/>
                    <a:pt x="120000" y="40000"/>
                    <a:pt x="120000" y="40000"/>
                  </a:cubicBezTo>
                  <a:cubicBezTo>
                    <a:pt x="117446" y="37692"/>
                    <a:pt x="117446" y="37692"/>
                    <a:pt x="117446" y="37692"/>
                  </a:cubicBezTo>
                  <a:cubicBezTo>
                    <a:pt x="116170" y="36153"/>
                    <a:pt x="116170" y="36153"/>
                    <a:pt x="116170" y="36153"/>
                  </a:cubicBezTo>
                  <a:cubicBezTo>
                    <a:pt x="115319" y="31538"/>
                    <a:pt x="115319" y="31538"/>
                    <a:pt x="115319" y="31538"/>
                  </a:cubicBezTo>
                  <a:cubicBezTo>
                    <a:pt x="112765" y="26923"/>
                    <a:pt x="112765" y="26923"/>
                    <a:pt x="112765" y="26923"/>
                  </a:cubicBezTo>
                  <a:cubicBezTo>
                    <a:pt x="114042" y="23076"/>
                    <a:pt x="114042" y="23076"/>
                    <a:pt x="114042" y="23076"/>
                  </a:cubicBezTo>
                  <a:cubicBezTo>
                    <a:pt x="115319" y="18461"/>
                    <a:pt x="115319" y="18461"/>
                    <a:pt x="115319" y="18461"/>
                  </a:cubicBezTo>
                  <a:cubicBezTo>
                    <a:pt x="115319" y="14615"/>
                    <a:pt x="115319" y="14615"/>
                    <a:pt x="115319" y="14615"/>
                  </a:cubicBezTo>
                  <a:cubicBezTo>
                    <a:pt x="114468" y="14615"/>
                    <a:pt x="114468" y="14615"/>
                    <a:pt x="114468" y="14615"/>
                  </a:cubicBezTo>
                  <a:cubicBezTo>
                    <a:pt x="110638" y="14615"/>
                    <a:pt x="110638" y="14615"/>
                    <a:pt x="110638" y="14615"/>
                  </a:cubicBezTo>
                  <a:cubicBezTo>
                    <a:pt x="109787" y="11538"/>
                    <a:pt x="109787" y="11538"/>
                    <a:pt x="109787" y="11538"/>
                  </a:cubicBezTo>
                  <a:cubicBezTo>
                    <a:pt x="108085" y="6923"/>
                    <a:pt x="108085" y="6923"/>
                    <a:pt x="108085" y="6923"/>
                  </a:cubicBezTo>
                  <a:cubicBezTo>
                    <a:pt x="108085" y="6923"/>
                    <a:pt x="79574" y="5384"/>
                    <a:pt x="70212" y="4615"/>
                  </a:cubicBezTo>
                  <a:cubicBezTo>
                    <a:pt x="53617" y="3846"/>
                    <a:pt x="4255" y="0"/>
                    <a:pt x="4255" y="0"/>
                  </a:cubicBezTo>
                  <a:cubicBezTo>
                    <a:pt x="0" y="112307"/>
                    <a:pt x="0" y="112307"/>
                    <a:pt x="0" y="112307"/>
                  </a:cubicBezTo>
                  <a:cubicBezTo>
                    <a:pt x="17446" y="113846"/>
                    <a:pt x="44255" y="116153"/>
                    <a:pt x="56595" y="117692"/>
                  </a:cubicBezTo>
                  <a:cubicBezTo>
                    <a:pt x="71914" y="118461"/>
                    <a:pt x="120000" y="120000"/>
                    <a:pt x="120000" y="120000"/>
                  </a:cubicBez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2" name="Shape 1392">
              <a:extLst>
                <a:ext uri="{FF2B5EF4-FFF2-40B4-BE49-F238E27FC236}">
                  <a16:creationId xmlns:a16="http://schemas.microsoft.com/office/drawing/2014/main" id="{F7135146-C4C7-99C0-FFBC-BC9DA2DD4BBC}"/>
                </a:ext>
              </a:extLst>
            </p:cNvPr>
            <p:cNvSpPr/>
            <p:nvPr/>
          </p:nvSpPr>
          <p:spPr>
            <a:xfrm>
              <a:off x="6279748" y="2242391"/>
              <a:ext cx="446906" cy="225983"/>
            </a:xfrm>
            <a:custGeom>
              <a:avLst/>
              <a:gdLst/>
              <a:ahLst/>
              <a:cxnLst/>
              <a:rect l="0" t="0" r="0" b="0"/>
              <a:pathLst>
                <a:path w="120000" h="120000" extrusionOk="0">
                  <a:moveTo>
                    <a:pt x="120000" y="120000"/>
                  </a:moveTo>
                  <a:cubicBezTo>
                    <a:pt x="120000" y="120000"/>
                    <a:pt x="120000" y="120000"/>
                    <a:pt x="120000" y="120000"/>
                  </a:cubicBezTo>
                  <a:cubicBezTo>
                    <a:pt x="120000" y="120000"/>
                    <a:pt x="120000" y="120000"/>
                    <a:pt x="120000" y="120000"/>
                  </a:cubicBezTo>
                  <a:cubicBezTo>
                    <a:pt x="119233" y="116962"/>
                    <a:pt x="119233" y="116962"/>
                    <a:pt x="119233" y="116962"/>
                  </a:cubicBezTo>
                  <a:cubicBezTo>
                    <a:pt x="118849" y="112405"/>
                    <a:pt x="118849" y="112405"/>
                    <a:pt x="118849" y="112405"/>
                  </a:cubicBezTo>
                  <a:cubicBezTo>
                    <a:pt x="118849" y="112405"/>
                    <a:pt x="116932" y="111645"/>
                    <a:pt x="116549" y="110886"/>
                  </a:cubicBezTo>
                  <a:cubicBezTo>
                    <a:pt x="116166" y="110126"/>
                    <a:pt x="116549" y="110126"/>
                    <a:pt x="116549" y="110126"/>
                  </a:cubicBezTo>
                  <a:cubicBezTo>
                    <a:pt x="115782" y="107848"/>
                    <a:pt x="115782" y="107848"/>
                    <a:pt x="115782" y="107848"/>
                  </a:cubicBezTo>
                  <a:cubicBezTo>
                    <a:pt x="116549" y="106329"/>
                    <a:pt x="116549" y="106329"/>
                    <a:pt x="116549" y="106329"/>
                  </a:cubicBezTo>
                  <a:cubicBezTo>
                    <a:pt x="116166" y="102531"/>
                    <a:pt x="116166" y="102531"/>
                    <a:pt x="116166" y="102531"/>
                  </a:cubicBezTo>
                  <a:cubicBezTo>
                    <a:pt x="115015" y="101012"/>
                    <a:pt x="115015" y="101012"/>
                    <a:pt x="115015" y="101012"/>
                  </a:cubicBezTo>
                  <a:cubicBezTo>
                    <a:pt x="114632" y="98734"/>
                    <a:pt x="114632" y="98734"/>
                    <a:pt x="114632" y="98734"/>
                  </a:cubicBezTo>
                  <a:cubicBezTo>
                    <a:pt x="113865" y="93417"/>
                    <a:pt x="113865" y="93417"/>
                    <a:pt x="113865" y="93417"/>
                  </a:cubicBezTo>
                  <a:cubicBezTo>
                    <a:pt x="113865" y="85822"/>
                    <a:pt x="113865" y="85822"/>
                    <a:pt x="113865" y="85822"/>
                  </a:cubicBezTo>
                  <a:cubicBezTo>
                    <a:pt x="113482" y="84303"/>
                    <a:pt x="113482" y="84303"/>
                    <a:pt x="113482" y="84303"/>
                  </a:cubicBezTo>
                  <a:cubicBezTo>
                    <a:pt x="112715" y="82025"/>
                    <a:pt x="112715" y="82025"/>
                    <a:pt x="112715" y="82025"/>
                  </a:cubicBezTo>
                  <a:cubicBezTo>
                    <a:pt x="113099" y="78987"/>
                    <a:pt x="113099" y="78987"/>
                    <a:pt x="113099" y="78987"/>
                  </a:cubicBezTo>
                  <a:cubicBezTo>
                    <a:pt x="113099" y="71392"/>
                    <a:pt x="113099" y="71392"/>
                    <a:pt x="113099" y="71392"/>
                  </a:cubicBezTo>
                  <a:cubicBezTo>
                    <a:pt x="112332" y="66075"/>
                    <a:pt x="112332" y="66075"/>
                    <a:pt x="112332" y="66075"/>
                  </a:cubicBezTo>
                  <a:cubicBezTo>
                    <a:pt x="111565" y="64556"/>
                    <a:pt x="111565" y="64556"/>
                    <a:pt x="111565" y="64556"/>
                  </a:cubicBezTo>
                  <a:cubicBezTo>
                    <a:pt x="110798" y="64556"/>
                    <a:pt x="110798" y="64556"/>
                    <a:pt x="110798" y="64556"/>
                  </a:cubicBezTo>
                  <a:cubicBezTo>
                    <a:pt x="110415" y="63037"/>
                    <a:pt x="110415" y="63037"/>
                    <a:pt x="110415" y="63037"/>
                  </a:cubicBezTo>
                  <a:cubicBezTo>
                    <a:pt x="110031" y="59240"/>
                    <a:pt x="110031" y="59240"/>
                    <a:pt x="110031" y="59240"/>
                  </a:cubicBezTo>
                  <a:cubicBezTo>
                    <a:pt x="109648" y="56202"/>
                    <a:pt x="109648" y="56202"/>
                    <a:pt x="109648" y="56202"/>
                  </a:cubicBezTo>
                  <a:cubicBezTo>
                    <a:pt x="110798" y="55443"/>
                    <a:pt x="110798" y="55443"/>
                    <a:pt x="110798" y="55443"/>
                  </a:cubicBezTo>
                  <a:cubicBezTo>
                    <a:pt x="110798" y="54683"/>
                    <a:pt x="110798" y="54683"/>
                    <a:pt x="110798" y="54683"/>
                  </a:cubicBezTo>
                  <a:cubicBezTo>
                    <a:pt x="110415" y="53924"/>
                    <a:pt x="110415" y="53924"/>
                    <a:pt x="110415" y="53924"/>
                  </a:cubicBezTo>
                  <a:cubicBezTo>
                    <a:pt x="110031" y="51645"/>
                    <a:pt x="110031" y="51645"/>
                    <a:pt x="110031" y="51645"/>
                  </a:cubicBezTo>
                  <a:cubicBezTo>
                    <a:pt x="109265" y="49367"/>
                    <a:pt x="109265" y="49367"/>
                    <a:pt x="109265" y="49367"/>
                  </a:cubicBezTo>
                  <a:cubicBezTo>
                    <a:pt x="108498" y="45569"/>
                    <a:pt x="108498" y="45569"/>
                    <a:pt x="108498" y="45569"/>
                  </a:cubicBezTo>
                  <a:cubicBezTo>
                    <a:pt x="107731" y="41012"/>
                    <a:pt x="107731" y="41012"/>
                    <a:pt x="107731" y="41012"/>
                  </a:cubicBezTo>
                  <a:cubicBezTo>
                    <a:pt x="106581" y="37215"/>
                    <a:pt x="106581" y="37215"/>
                    <a:pt x="106581" y="37215"/>
                  </a:cubicBezTo>
                  <a:cubicBezTo>
                    <a:pt x="105431" y="30379"/>
                    <a:pt x="105431" y="30379"/>
                    <a:pt x="105431" y="30379"/>
                  </a:cubicBezTo>
                  <a:cubicBezTo>
                    <a:pt x="104281" y="27341"/>
                    <a:pt x="104281" y="27341"/>
                    <a:pt x="104281" y="27341"/>
                  </a:cubicBezTo>
                  <a:cubicBezTo>
                    <a:pt x="103897" y="26582"/>
                    <a:pt x="103897" y="26582"/>
                    <a:pt x="103897" y="26582"/>
                  </a:cubicBezTo>
                  <a:cubicBezTo>
                    <a:pt x="102364" y="24303"/>
                    <a:pt x="102364" y="24303"/>
                    <a:pt x="102364" y="24303"/>
                  </a:cubicBezTo>
                  <a:cubicBezTo>
                    <a:pt x="99680" y="20506"/>
                    <a:pt x="99680" y="20506"/>
                    <a:pt x="99680" y="20506"/>
                  </a:cubicBezTo>
                  <a:cubicBezTo>
                    <a:pt x="97763" y="18987"/>
                    <a:pt x="97763" y="18987"/>
                    <a:pt x="97763" y="18987"/>
                  </a:cubicBezTo>
                  <a:cubicBezTo>
                    <a:pt x="95846" y="17468"/>
                    <a:pt x="95846" y="17468"/>
                    <a:pt x="95846" y="17468"/>
                  </a:cubicBezTo>
                  <a:cubicBezTo>
                    <a:pt x="94313" y="14430"/>
                    <a:pt x="94313" y="14430"/>
                    <a:pt x="94313" y="14430"/>
                  </a:cubicBezTo>
                  <a:cubicBezTo>
                    <a:pt x="91629" y="13670"/>
                    <a:pt x="91629" y="13670"/>
                    <a:pt x="91629" y="13670"/>
                  </a:cubicBezTo>
                  <a:cubicBezTo>
                    <a:pt x="88178" y="14430"/>
                    <a:pt x="88178" y="14430"/>
                    <a:pt x="88178" y="14430"/>
                  </a:cubicBezTo>
                  <a:cubicBezTo>
                    <a:pt x="87028" y="14430"/>
                    <a:pt x="87028" y="14430"/>
                    <a:pt x="87028" y="14430"/>
                  </a:cubicBezTo>
                  <a:cubicBezTo>
                    <a:pt x="85878" y="15189"/>
                    <a:pt x="85878" y="15189"/>
                    <a:pt x="85878" y="15189"/>
                  </a:cubicBezTo>
                  <a:cubicBezTo>
                    <a:pt x="85111" y="16708"/>
                    <a:pt x="85111" y="16708"/>
                    <a:pt x="85111" y="16708"/>
                  </a:cubicBezTo>
                  <a:cubicBezTo>
                    <a:pt x="83961" y="15949"/>
                    <a:pt x="83961" y="15949"/>
                    <a:pt x="83961" y="15949"/>
                  </a:cubicBezTo>
                  <a:cubicBezTo>
                    <a:pt x="82811" y="14430"/>
                    <a:pt x="82811" y="14430"/>
                    <a:pt x="82811" y="14430"/>
                  </a:cubicBezTo>
                  <a:cubicBezTo>
                    <a:pt x="80511" y="12151"/>
                    <a:pt x="80511" y="12151"/>
                    <a:pt x="80511" y="12151"/>
                  </a:cubicBezTo>
                  <a:cubicBezTo>
                    <a:pt x="77444" y="9113"/>
                    <a:pt x="77444" y="9113"/>
                    <a:pt x="77444" y="9113"/>
                  </a:cubicBezTo>
                  <a:cubicBezTo>
                    <a:pt x="3833" y="0"/>
                    <a:pt x="3833" y="0"/>
                    <a:pt x="3833" y="0"/>
                  </a:cubicBezTo>
                  <a:cubicBezTo>
                    <a:pt x="0" y="72151"/>
                    <a:pt x="0" y="72151"/>
                    <a:pt x="0" y="72151"/>
                  </a:cubicBezTo>
                  <a:cubicBezTo>
                    <a:pt x="27987" y="77468"/>
                    <a:pt x="27987" y="77468"/>
                    <a:pt x="27987" y="77468"/>
                  </a:cubicBezTo>
                  <a:cubicBezTo>
                    <a:pt x="26453" y="113164"/>
                    <a:pt x="26453" y="113164"/>
                    <a:pt x="26453" y="113164"/>
                  </a:cubicBezTo>
                  <a:cubicBezTo>
                    <a:pt x="26453" y="113164"/>
                    <a:pt x="26453" y="113164"/>
                    <a:pt x="26453" y="113164"/>
                  </a:cubicBezTo>
                  <a:cubicBezTo>
                    <a:pt x="28753" y="113164"/>
                    <a:pt x="71309" y="116962"/>
                    <a:pt x="85878" y="117721"/>
                  </a:cubicBezTo>
                  <a:cubicBezTo>
                    <a:pt x="94313" y="118481"/>
                    <a:pt x="120000" y="120000"/>
                    <a:pt x="120000" y="120000"/>
                  </a:cubicBez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3" name="Shape 1393">
              <a:extLst>
                <a:ext uri="{FF2B5EF4-FFF2-40B4-BE49-F238E27FC236}">
                  <a16:creationId xmlns:a16="http://schemas.microsoft.com/office/drawing/2014/main" id="{AAE9CCBB-19E9-C603-8B80-E7145A324706}"/>
                </a:ext>
              </a:extLst>
            </p:cNvPr>
            <p:cNvSpPr/>
            <p:nvPr/>
          </p:nvSpPr>
          <p:spPr>
            <a:xfrm>
              <a:off x="6293239" y="2040018"/>
              <a:ext cx="384509" cy="256339"/>
            </a:xfrm>
            <a:custGeom>
              <a:avLst/>
              <a:gdLst/>
              <a:ahLst/>
              <a:cxnLst/>
              <a:rect l="0" t="0" r="0" b="0"/>
              <a:pathLst>
                <a:path w="120000" h="120000" extrusionOk="0">
                  <a:moveTo>
                    <a:pt x="89219" y="105333"/>
                  </a:moveTo>
                  <a:cubicBezTo>
                    <a:pt x="91895" y="107333"/>
                    <a:pt x="91895" y="107333"/>
                    <a:pt x="91895" y="107333"/>
                  </a:cubicBezTo>
                  <a:cubicBezTo>
                    <a:pt x="93234" y="108666"/>
                    <a:pt x="93234" y="108666"/>
                    <a:pt x="93234" y="108666"/>
                  </a:cubicBezTo>
                  <a:cubicBezTo>
                    <a:pt x="94572" y="109333"/>
                    <a:pt x="94572" y="109333"/>
                    <a:pt x="94572" y="109333"/>
                  </a:cubicBezTo>
                  <a:cubicBezTo>
                    <a:pt x="95464" y="108000"/>
                    <a:pt x="95464" y="108000"/>
                    <a:pt x="95464" y="108000"/>
                  </a:cubicBezTo>
                  <a:cubicBezTo>
                    <a:pt x="96802" y="107333"/>
                    <a:pt x="96802" y="107333"/>
                    <a:pt x="96802" y="107333"/>
                  </a:cubicBezTo>
                  <a:cubicBezTo>
                    <a:pt x="98141" y="107333"/>
                    <a:pt x="98141" y="107333"/>
                    <a:pt x="98141" y="107333"/>
                  </a:cubicBezTo>
                  <a:cubicBezTo>
                    <a:pt x="102156" y="106666"/>
                    <a:pt x="102156" y="106666"/>
                    <a:pt x="102156" y="106666"/>
                  </a:cubicBezTo>
                  <a:cubicBezTo>
                    <a:pt x="105278" y="107333"/>
                    <a:pt x="105278" y="107333"/>
                    <a:pt x="105278" y="107333"/>
                  </a:cubicBezTo>
                  <a:cubicBezTo>
                    <a:pt x="107063" y="110000"/>
                    <a:pt x="107063" y="110000"/>
                    <a:pt x="107063" y="110000"/>
                  </a:cubicBezTo>
                  <a:cubicBezTo>
                    <a:pt x="109293" y="111333"/>
                    <a:pt x="109293" y="111333"/>
                    <a:pt x="109293" y="111333"/>
                  </a:cubicBezTo>
                  <a:cubicBezTo>
                    <a:pt x="111524" y="112666"/>
                    <a:pt x="111524" y="112666"/>
                    <a:pt x="111524" y="112666"/>
                  </a:cubicBezTo>
                  <a:cubicBezTo>
                    <a:pt x="114646" y="116000"/>
                    <a:pt x="114646" y="116000"/>
                    <a:pt x="114646" y="116000"/>
                  </a:cubicBezTo>
                  <a:cubicBezTo>
                    <a:pt x="116431" y="118000"/>
                    <a:pt x="116431" y="118000"/>
                    <a:pt x="116431" y="118000"/>
                  </a:cubicBezTo>
                  <a:cubicBezTo>
                    <a:pt x="116877" y="118666"/>
                    <a:pt x="116877" y="118666"/>
                    <a:pt x="116877" y="118666"/>
                  </a:cubicBezTo>
                  <a:cubicBezTo>
                    <a:pt x="117323" y="120000"/>
                    <a:pt x="117323" y="120000"/>
                    <a:pt x="117323" y="120000"/>
                  </a:cubicBezTo>
                  <a:cubicBezTo>
                    <a:pt x="117323" y="120000"/>
                    <a:pt x="117323" y="120000"/>
                    <a:pt x="117323" y="120000"/>
                  </a:cubicBezTo>
                  <a:cubicBezTo>
                    <a:pt x="117323" y="118000"/>
                    <a:pt x="117323" y="118000"/>
                    <a:pt x="117323" y="118000"/>
                  </a:cubicBezTo>
                  <a:cubicBezTo>
                    <a:pt x="117323" y="115333"/>
                    <a:pt x="117323" y="115333"/>
                    <a:pt x="117323" y="115333"/>
                  </a:cubicBezTo>
                  <a:cubicBezTo>
                    <a:pt x="115539" y="113333"/>
                    <a:pt x="115539" y="113333"/>
                    <a:pt x="115539" y="113333"/>
                  </a:cubicBezTo>
                  <a:cubicBezTo>
                    <a:pt x="115539" y="111333"/>
                    <a:pt x="115539" y="111333"/>
                    <a:pt x="115539" y="111333"/>
                  </a:cubicBezTo>
                  <a:cubicBezTo>
                    <a:pt x="115985" y="109333"/>
                    <a:pt x="115985" y="109333"/>
                    <a:pt x="115985" y="109333"/>
                  </a:cubicBezTo>
                  <a:cubicBezTo>
                    <a:pt x="117323" y="108666"/>
                    <a:pt x="117323" y="108666"/>
                    <a:pt x="117323" y="108666"/>
                  </a:cubicBezTo>
                  <a:cubicBezTo>
                    <a:pt x="117323" y="104000"/>
                    <a:pt x="117323" y="104000"/>
                    <a:pt x="117323" y="104000"/>
                  </a:cubicBezTo>
                  <a:cubicBezTo>
                    <a:pt x="117769" y="102000"/>
                    <a:pt x="117769" y="102000"/>
                    <a:pt x="117769" y="102000"/>
                  </a:cubicBezTo>
                  <a:cubicBezTo>
                    <a:pt x="118661" y="101333"/>
                    <a:pt x="118661" y="101333"/>
                    <a:pt x="118661" y="101333"/>
                  </a:cubicBezTo>
                  <a:cubicBezTo>
                    <a:pt x="118661" y="98666"/>
                    <a:pt x="118661" y="98666"/>
                    <a:pt x="118661" y="98666"/>
                  </a:cubicBezTo>
                  <a:cubicBezTo>
                    <a:pt x="117769" y="95333"/>
                    <a:pt x="117769" y="95333"/>
                    <a:pt x="117769" y="95333"/>
                  </a:cubicBezTo>
                  <a:cubicBezTo>
                    <a:pt x="116877" y="94666"/>
                    <a:pt x="116877" y="94666"/>
                    <a:pt x="116877" y="94666"/>
                  </a:cubicBezTo>
                  <a:cubicBezTo>
                    <a:pt x="117323" y="91333"/>
                    <a:pt x="117323" y="91333"/>
                    <a:pt x="117323" y="91333"/>
                  </a:cubicBezTo>
                  <a:cubicBezTo>
                    <a:pt x="117323" y="89333"/>
                    <a:pt x="117323" y="89333"/>
                    <a:pt x="117323" y="89333"/>
                  </a:cubicBezTo>
                  <a:cubicBezTo>
                    <a:pt x="118661" y="89333"/>
                    <a:pt x="118661" y="89333"/>
                    <a:pt x="118661" y="89333"/>
                  </a:cubicBezTo>
                  <a:cubicBezTo>
                    <a:pt x="120000" y="31333"/>
                    <a:pt x="120000" y="31333"/>
                    <a:pt x="120000" y="31333"/>
                  </a:cubicBezTo>
                  <a:cubicBezTo>
                    <a:pt x="118661" y="29333"/>
                    <a:pt x="118661" y="29333"/>
                    <a:pt x="118661" y="29333"/>
                  </a:cubicBezTo>
                  <a:cubicBezTo>
                    <a:pt x="117769" y="27333"/>
                    <a:pt x="117769" y="27333"/>
                    <a:pt x="117769" y="27333"/>
                  </a:cubicBezTo>
                  <a:cubicBezTo>
                    <a:pt x="115539" y="26000"/>
                    <a:pt x="115539" y="26000"/>
                    <a:pt x="115539" y="26000"/>
                  </a:cubicBezTo>
                  <a:cubicBezTo>
                    <a:pt x="115092" y="24000"/>
                    <a:pt x="115092" y="24000"/>
                    <a:pt x="115092" y="24000"/>
                  </a:cubicBezTo>
                  <a:cubicBezTo>
                    <a:pt x="113754" y="22000"/>
                    <a:pt x="113754" y="22000"/>
                    <a:pt x="113754" y="22000"/>
                  </a:cubicBezTo>
                  <a:cubicBezTo>
                    <a:pt x="113308" y="20666"/>
                    <a:pt x="113308" y="20666"/>
                    <a:pt x="113308" y="20666"/>
                  </a:cubicBezTo>
                  <a:cubicBezTo>
                    <a:pt x="113308" y="19333"/>
                    <a:pt x="113308" y="19333"/>
                    <a:pt x="113308" y="19333"/>
                  </a:cubicBezTo>
                  <a:cubicBezTo>
                    <a:pt x="113308" y="18000"/>
                    <a:pt x="113308" y="18000"/>
                    <a:pt x="113308" y="18000"/>
                  </a:cubicBezTo>
                  <a:cubicBezTo>
                    <a:pt x="114646" y="16000"/>
                    <a:pt x="114646" y="16000"/>
                    <a:pt x="114646" y="16000"/>
                  </a:cubicBezTo>
                  <a:cubicBezTo>
                    <a:pt x="115985" y="14000"/>
                    <a:pt x="115985" y="14000"/>
                    <a:pt x="115985" y="14000"/>
                  </a:cubicBezTo>
                  <a:cubicBezTo>
                    <a:pt x="117769" y="11333"/>
                    <a:pt x="117769" y="11333"/>
                    <a:pt x="117769" y="11333"/>
                  </a:cubicBezTo>
                  <a:cubicBezTo>
                    <a:pt x="117323" y="10000"/>
                    <a:pt x="117323" y="10000"/>
                    <a:pt x="117323" y="10000"/>
                  </a:cubicBezTo>
                  <a:cubicBezTo>
                    <a:pt x="117323" y="9333"/>
                    <a:pt x="117323" y="9333"/>
                    <a:pt x="117323" y="9333"/>
                  </a:cubicBezTo>
                  <a:cubicBezTo>
                    <a:pt x="117323" y="9333"/>
                    <a:pt x="74498" y="6666"/>
                    <a:pt x="60669" y="5333"/>
                  </a:cubicBezTo>
                  <a:cubicBezTo>
                    <a:pt x="46840" y="4000"/>
                    <a:pt x="6245" y="0"/>
                    <a:pt x="6245" y="0"/>
                  </a:cubicBezTo>
                  <a:cubicBezTo>
                    <a:pt x="0" y="94666"/>
                    <a:pt x="0" y="94666"/>
                    <a:pt x="0" y="94666"/>
                  </a:cubicBezTo>
                  <a:cubicBezTo>
                    <a:pt x="85650" y="102666"/>
                    <a:pt x="85650" y="102666"/>
                    <a:pt x="85650" y="102666"/>
                  </a:cubicBezTo>
                  <a:lnTo>
                    <a:pt x="89219" y="105333"/>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4" name="Shape 1394">
              <a:extLst>
                <a:ext uri="{FF2B5EF4-FFF2-40B4-BE49-F238E27FC236}">
                  <a16:creationId xmlns:a16="http://schemas.microsoft.com/office/drawing/2014/main" id="{D269FB5E-C379-21D0-838E-F583B85D3041}"/>
                </a:ext>
              </a:extLst>
            </p:cNvPr>
            <p:cNvSpPr/>
            <p:nvPr/>
          </p:nvSpPr>
          <p:spPr>
            <a:xfrm>
              <a:off x="5922221" y="2058568"/>
              <a:ext cx="386195" cy="318738"/>
            </a:xfrm>
            <a:custGeom>
              <a:avLst/>
              <a:gdLst/>
              <a:ahLst/>
              <a:cxnLst/>
              <a:rect l="0" t="0" r="0" b="0"/>
              <a:pathLst>
                <a:path w="120000" h="120000" extrusionOk="0">
                  <a:moveTo>
                    <a:pt x="119999" y="17142"/>
                  </a:moveTo>
                  <a:lnTo>
                    <a:pt x="119475" y="17142"/>
                  </a:lnTo>
                  <a:lnTo>
                    <a:pt x="14672" y="0"/>
                  </a:lnTo>
                  <a:lnTo>
                    <a:pt x="12576" y="14603"/>
                  </a:lnTo>
                  <a:lnTo>
                    <a:pt x="3668" y="77460"/>
                  </a:lnTo>
                  <a:lnTo>
                    <a:pt x="0" y="102857"/>
                  </a:lnTo>
                  <a:lnTo>
                    <a:pt x="31965" y="109206"/>
                  </a:lnTo>
                  <a:lnTo>
                    <a:pt x="111091" y="120000"/>
                  </a:lnTo>
                  <a:lnTo>
                    <a:pt x="115283" y="69206"/>
                  </a:lnTo>
                  <a:lnTo>
                    <a:pt x="119999" y="17142"/>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6" name="Shape 1395">
              <a:extLst>
                <a:ext uri="{FF2B5EF4-FFF2-40B4-BE49-F238E27FC236}">
                  <a16:creationId xmlns:a16="http://schemas.microsoft.com/office/drawing/2014/main" id="{9FBCCC3D-D1D6-9FF5-DD60-B38012F9E0EF}"/>
                </a:ext>
              </a:extLst>
            </p:cNvPr>
            <p:cNvSpPr/>
            <p:nvPr/>
          </p:nvSpPr>
          <p:spPr>
            <a:xfrm>
              <a:off x="6313476" y="1829213"/>
              <a:ext cx="359212" cy="231044"/>
            </a:xfrm>
            <a:custGeom>
              <a:avLst/>
              <a:gdLst/>
              <a:ahLst/>
              <a:cxnLst/>
              <a:rect l="0" t="0" r="0" b="0"/>
              <a:pathLst>
                <a:path w="120000" h="120000" extrusionOk="0">
                  <a:moveTo>
                    <a:pt x="119043" y="119259"/>
                  </a:moveTo>
                  <a:cubicBezTo>
                    <a:pt x="119043" y="120000"/>
                    <a:pt x="119043" y="120000"/>
                    <a:pt x="119043" y="120000"/>
                  </a:cubicBezTo>
                  <a:cubicBezTo>
                    <a:pt x="119043" y="120000"/>
                    <a:pt x="119043" y="120000"/>
                    <a:pt x="119043" y="120000"/>
                  </a:cubicBezTo>
                  <a:cubicBezTo>
                    <a:pt x="120000" y="118518"/>
                    <a:pt x="120000" y="118518"/>
                    <a:pt x="120000" y="118518"/>
                  </a:cubicBezTo>
                  <a:cubicBezTo>
                    <a:pt x="120000" y="114814"/>
                    <a:pt x="120000" y="114814"/>
                    <a:pt x="120000" y="114814"/>
                  </a:cubicBezTo>
                  <a:cubicBezTo>
                    <a:pt x="120000" y="111111"/>
                    <a:pt x="120000" y="111111"/>
                    <a:pt x="120000" y="111111"/>
                  </a:cubicBezTo>
                  <a:cubicBezTo>
                    <a:pt x="119521" y="106666"/>
                    <a:pt x="119521" y="106666"/>
                    <a:pt x="119521" y="106666"/>
                  </a:cubicBezTo>
                  <a:cubicBezTo>
                    <a:pt x="118565" y="104444"/>
                    <a:pt x="118565" y="104444"/>
                    <a:pt x="118565" y="104444"/>
                  </a:cubicBezTo>
                  <a:cubicBezTo>
                    <a:pt x="117131" y="102222"/>
                    <a:pt x="117131" y="102222"/>
                    <a:pt x="117131" y="102222"/>
                  </a:cubicBezTo>
                  <a:cubicBezTo>
                    <a:pt x="117131" y="97037"/>
                    <a:pt x="117131" y="97037"/>
                    <a:pt x="117131" y="97037"/>
                  </a:cubicBezTo>
                  <a:cubicBezTo>
                    <a:pt x="116653" y="95555"/>
                    <a:pt x="116653" y="95555"/>
                    <a:pt x="116653" y="95555"/>
                  </a:cubicBezTo>
                  <a:cubicBezTo>
                    <a:pt x="115697" y="93333"/>
                    <a:pt x="115697" y="93333"/>
                    <a:pt x="115697" y="93333"/>
                  </a:cubicBezTo>
                  <a:cubicBezTo>
                    <a:pt x="115697" y="86666"/>
                    <a:pt x="115697" y="86666"/>
                    <a:pt x="115697" y="86666"/>
                  </a:cubicBezTo>
                  <a:cubicBezTo>
                    <a:pt x="115697" y="76296"/>
                    <a:pt x="115697" y="76296"/>
                    <a:pt x="115697" y="76296"/>
                  </a:cubicBezTo>
                  <a:cubicBezTo>
                    <a:pt x="115219" y="63703"/>
                    <a:pt x="115219" y="63703"/>
                    <a:pt x="115219" y="63703"/>
                  </a:cubicBezTo>
                  <a:cubicBezTo>
                    <a:pt x="115219" y="57037"/>
                    <a:pt x="115219" y="57037"/>
                    <a:pt x="115219" y="57037"/>
                  </a:cubicBezTo>
                  <a:cubicBezTo>
                    <a:pt x="113306" y="51851"/>
                    <a:pt x="113306" y="51851"/>
                    <a:pt x="113306" y="51851"/>
                  </a:cubicBezTo>
                  <a:cubicBezTo>
                    <a:pt x="111872" y="44444"/>
                    <a:pt x="111872" y="44444"/>
                    <a:pt x="111872" y="44444"/>
                  </a:cubicBezTo>
                  <a:cubicBezTo>
                    <a:pt x="110916" y="40000"/>
                    <a:pt x="110916" y="40000"/>
                    <a:pt x="110916" y="40000"/>
                  </a:cubicBezTo>
                  <a:cubicBezTo>
                    <a:pt x="111872" y="34814"/>
                    <a:pt x="111872" y="34814"/>
                    <a:pt x="111872" y="34814"/>
                  </a:cubicBezTo>
                  <a:cubicBezTo>
                    <a:pt x="111394" y="30370"/>
                    <a:pt x="111394" y="30370"/>
                    <a:pt x="111394" y="30370"/>
                  </a:cubicBezTo>
                  <a:cubicBezTo>
                    <a:pt x="110916" y="28888"/>
                    <a:pt x="110916" y="28888"/>
                    <a:pt x="110916" y="28888"/>
                  </a:cubicBezTo>
                  <a:cubicBezTo>
                    <a:pt x="110916" y="25185"/>
                    <a:pt x="110916" y="25185"/>
                    <a:pt x="110916" y="25185"/>
                  </a:cubicBezTo>
                  <a:cubicBezTo>
                    <a:pt x="110916" y="24444"/>
                    <a:pt x="110916" y="24444"/>
                    <a:pt x="110916" y="24444"/>
                  </a:cubicBezTo>
                  <a:cubicBezTo>
                    <a:pt x="111872" y="22962"/>
                    <a:pt x="111872" y="22962"/>
                    <a:pt x="111872" y="22962"/>
                  </a:cubicBezTo>
                  <a:cubicBezTo>
                    <a:pt x="112350" y="21481"/>
                    <a:pt x="112350" y="21481"/>
                    <a:pt x="112350" y="21481"/>
                  </a:cubicBezTo>
                  <a:cubicBezTo>
                    <a:pt x="112350" y="18518"/>
                    <a:pt x="112350" y="18518"/>
                    <a:pt x="112350" y="18518"/>
                  </a:cubicBezTo>
                  <a:cubicBezTo>
                    <a:pt x="110916" y="16296"/>
                    <a:pt x="110916" y="16296"/>
                    <a:pt x="110916" y="16296"/>
                  </a:cubicBezTo>
                  <a:cubicBezTo>
                    <a:pt x="110916" y="15555"/>
                    <a:pt x="110916" y="15555"/>
                    <a:pt x="110916" y="15555"/>
                  </a:cubicBezTo>
                  <a:cubicBezTo>
                    <a:pt x="110438" y="13333"/>
                    <a:pt x="110438" y="13333"/>
                    <a:pt x="110438" y="13333"/>
                  </a:cubicBezTo>
                  <a:cubicBezTo>
                    <a:pt x="109960" y="9629"/>
                    <a:pt x="109960" y="9629"/>
                    <a:pt x="109960" y="9629"/>
                  </a:cubicBezTo>
                  <a:cubicBezTo>
                    <a:pt x="109960" y="9629"/>
                    <a:pt x="62151" y="6666"/>
                    <a:pt x="46374" y="5185"/>
                  </a:cubicBezTo>
                  <a:cubicBezTo>
                    <a:pt x="36334" y="4444"/>
                    <a:pt x="6693" y="0"/>
                    <a:pt x="6693" y="0"/>
                  </a:cubicBezTo>
                  <a:cubicBezTo>
                    <a:pt x="0" y="108888"/>
                    <a:pt x="0" y="108888"/>
                    <a:pt x="0" y="108888"/>
                  </a:cubicBezTo>
                  <a:cubicBezTo>
                    <a:pt x="0" y="108888"/>
                    <a:pt x="43505" y="113333"/>
                    <a:pt x="58326" y="114814"/>
                  </a:cubicBezTo>
                  <a:cubicBezTo>
                    <a:pt x="73147" y="116296"/>
                    <a:pt x="119043" y="119259"/>
                    <a:pt x="119043" y="119259"/>
                  </a:cubicBez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7" name="Shape 1396">
              <a:extLst>
                <a:ext uri="{FF2B5EF4-FFF2-40B4-BE49-F238E27FC236}">
                  <a16:creationId xmlns:a16="http://schemas.microsoft.com/office/drawing/2014/main" id="{332D94C7-7E32-F47F-76F4-671FFA7B33D6}"/>
                </a:ext>
              </a:extLst>
            </p:cNvPr>
            <p:cNvSpPr/>
            <p:nvPr/>
          </p:nvSpPr>
          <p:spPr>
            <a:xfrm>
              <a:off x="5982933" y="2348638"/>
              <a:ext cx="401372" cy="315364"/>
            </a:xfrm>
            <a:custGeom>
              <a:avLst/>
              <a:gdLst/>
              <a:ahLst/>
              <a:cxnLst/>
              <a:rect l="0" t="0" r="0" b="0"/>
              <a:pathLst>
                <a:path w="120000" h="120000" extrusionOk="0">
                  <a:moveTo>
                    <a:pt x="114021" y="120000"/>
                  </a:moveTo>
                  <a:cubicBezTo>
                    <a:pt x="118291" y="40723"/>
                    <a:pt x="118291" y="40723"/>
                    <a:pt x="118291" y="40723"/>
                  </a:cubicBezTo>
                  <a:cubicBezTo>
                    <a:pt x="118291" y="40723"/>
                    <a:pt x="118291" y="40723"/>
                    <a:pt x="118291" y="40723"/>
                  </a:cubicBezTo>
                  <a:cubicBezTo>
                    <a:pt x="118291" y="40723"/>
                    <a:pt x="118291" y="40723"/>
                    <a:pt x="118291" y="40723"/>
                  </a:cubicBezTo>
                  <a:cubicBezTo>
                    <a:pt x="120000" y="15203"/>
                    <a:pt x="120000" y="15203"/>
                    <a:pt x="120000" y="15203"/>
                  </a:cubicBezTo>
                  <a:cubicBezTo>
                    <a:pt x="88825" y="11402"/>
                    <a:pt x="88825" y="11402"/>
                    <a:pt x="88825" y="11402"/>
                  </a:cubicBezTo>
                  <a:cubicBezTo>
                    <a:pt x="12811" y="0"/>
                    <a:pt x="12811" y="0"/>
                    <a:pt x="12811" y="0"/>
                  </a:cubicBezTo>
                  <a:cubicBezTo>
                    <a:pt x="0" y="104253"/>
                    <a:pt x="0" y="104253"/>
                    <a:pt x="0" y="104253"/>
                  </a:cubicBezTo>
                  <a:cubicBezTo>
                    <a:pt x="97793" y="118914"/>
                    <a:pt x="97793" y="118914"/>
                    <a:pt x="97793" y="118914"/>
                  </a:cubicBezTo>
                  <a:cubicBezTo>
                    <a:pt x="97793" y="118914"/>
                    <a:pt x="104626" y="119457"/>
                    <a:pt x="114021" y="120000"/>
                  </a:cubicBez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18" name="Shape 1397">
              <a:extLst>
                <a:ext uri="{FF2B5EF4-FFF2-40B4-BE49-F238E27FC236}">
                  <a16:creationId xmlns:a16="http://schemas.microsoft.com/office/drawing/2014/main" id="{D585A42A-341A-2321-9E9E-B2474E7F0CBA}"/>
                </a:ext>
              </a:extLst>
            </p:cNvPr>
            <p:cNvSpPr/>
            <p:nvPr/>
          </p:nvSpPr>
          <p:spPr>
            <a:xfrm>
              <a:off x="5716476" y="2235646"/>
              <a:ext cx="308618" cy="386195"/>
            </a:xfrm>
            <a:custGeom>
              <a:avLst/>
              <a:gdLst/>
              <a:ahLst/>
              <a:cxnLst/>
              <a:rect l="0" t="0" r="0" b="0"/>
              <a:pathLst>
                <a:path w="120000" h="120000" extrusionOk="0">
                  <a:moveTo>
                    <a:pt x="120000" y="35109"/>
                  </a:moveTo>
                  <a:lnTo>
                    <a:pt x="80000" y="29868"/>
                  </a:lnTo>
                  <a:lnTo>
                    <a:pt x="84590" y="8908"/>
                  </a:lnTo>
                  <a:lnTo>
                    <a:pt x="25573" y="0"/>
                  </a:lnTo>
                  <a:lnTo>
                    <a:pt x="0" y="105327"/>
                  </a:lnTo>
                  <a:lnTo>
                    <a:pt x="103606" y="119999"/>
                  </a:lnTo>
                  <a:lnTo>
                    <a:pt x="120000" y="35109"/>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0" name="Shape 1398">
              <a:extLst>
                <a:ext uri="{FF2B5EF4-FFF2-40B4-BE49-F238E27FC236}">
                  <a16:creationId xmlns:a16="http://schemas.microsoft.com/office/drawing/2014/main" id="{E729C7B9-102C-29F0-58BA-C173F9A2A2E8}"/>
                </a:ext>
              </a:extLst>
            </p:cNvPr>
            <p:cNvSpPr/>
            <p:nvPr/>
          </p:nvSpPr>
          <p:spPr>
            <a:xfrm>
              <a:off x="5428094" y="2164816"/>
              <a:ext cx="354152" cy="536287"/>
            </a:xfrm>
            <a:custGeom>
              <a:avLst/>
              <a:gdLst/>
              <a:ahLst/>
              <a:cxnLst/>
              <a:rect l="0" t="0" r="0" b="0"/>
              <a:pathLst>
                <a:path w="120000" h="120000" extrusionOk="0">
                  <a:moveTo>
                    <a:pt x="2419" y="41920"/>
                  </a:moveTo>
                  <a:cubicBezTo>
                    <a:pt x="483" y="42240"/>
                    <a:pt x="483" y="42240"/>
                    <a:pt x="483" y="42240"/>
                  </a:cubicBezTo>
                  <a:cubicBezTo>
                    <a:pt x="0" y="43200"/>
                    <a:pt x="0" y="43200"/>
                    <a:pt x="0" y="43200"/>
                  </a:cubicBezTo>
                  <a:cubicBezTo>
                    <a:pt x="483" y="44480"/>
                    <a:pt x="483" y="44480"/>
                    <a:pt x="483" y="44480"/>
                  </a:cubicBezTo>
                  <a:cubicBezTo>
                    <a:pt x="967" y="45440"/>
                    <a:pt x="967" y="45440"/>
                    <a:pt x="967" y="45440"/>
                  </a:cubicBezTo>
                  <a:cubicBezTo>
                    <a:pt x="1451" y="45760"/>
                    <a:pt x="1451" y="45760"/>
                    <a:pt x="1451" y="45760"/>
                  </a:cubicBezTo>
                  <a:cubicBezTo>
                    <a:pt x="3387" y="46400"/>
                    <a:pt x="3387" y="46400"/>
                    <a:pt x="3387" y="46400"/>
                  </a:cubicBezTo>
                  <a:cubicBezTo>
                    <a:pt x="77419" y="120000"/>
                    <a:pt x="77419" y="120000"/>
                    <a:pt x="77419" y="120000"/>
                  </a:cubicBezTo>
                  <a:cubicBezTo>
                    <a:pt x="78870" y="118720"/>
                    <a:pt x="78870" y="118720"/>
                    <a:pt x="78870" y="118720"/>
                  </a:cubicBezTo>
                  <a:cubicBezTo>
                    <a:pt x="79354" y="117440"/>
                    <a:pt x="79354" y="117440"/>
                    <a:pt x="79354" y="117440"/>
                  </a:cubicBezTo>
                  <a:cubicBezTo>
                    <a:pt x="79354" y="113280"/>
                    <a:pt x="79354" y="113280"/>
                    <a:pt x="79354" y="113280"/>
                  </a:cubicBezTo>
                  <a:cubicBezTo>
                    <a:pt x="79354" y="108800"/>
                    <a:pt x="79354" y="108800"/>
                    <a:pt x="79354" y="108800"/>
                  </a:cubicBezTo>
                  <a:cubicBezTo>
                    <a:pt x="79354" y="105280"/>
                    <a:pt x="79354" y="105280"/>
                    <a:pt x="79354" y="105280"/>
                  </a:cubicBezTo>
                  <a:cubicBezTo>
                    <a:pt x="80806" y="104320"/>
                    <a:pt x="80806" y="104320"/>
                    <a:pt x="80806" y="104320"/>
                  </a:cubicBezTo>
                  <a:cubicBezTo>
                    <a:pt x="84193" y="103680"/>
                    <a:pt x="84193" y="103680"/>
                    <a:pt x="84193" y="103680"/>
                  </a:cubicBezTo>
                  <a:cubicBezTo>
                    <a:pt x="85161" y="104960"/>
                    <a:pt x="85161" y="104960"/>
                    <a:pt x="85161" y="104960"/>
                  </a:cubicBezTo>
                  <a:cubicBezTo>
                    <a:pt x="87096" y="104320"/>
                    <a:pt x="87096" y="104320"/>
                    <a:pt x="87096" y="104320"/>
                  </a:cubicBezTo>
                  <a:cubicBezTo>
                    <a:pt x="89516" y="105600"/>
                    <a:pt x="89516" y="105600"/>
                    <a:pt x="89516" y="105600"/>
                  </a:cubicBezTo>
                  <a:cubicBezTo>
                    <a:pt x="90967" y="106240"/>
                    <a:pt x="90967" y="106240"/>
                    <a:pt x="90967" y="106240"/>
                  </a:cubicBezTo>
                  <a:cubicBezTo>
                    <a:pt x="92419" y="105600"/>
                    <a:pt x="92419" y="105600"/>
                    <a:pt x="92419" y="105600"/>
                  </a:cubicBezTo>
                  <a:cubicBezTo>
                    <a:pt x="92419" y="105600"/>
                    <a:pt x="94354" y="101120"/>
                    <a:pt x="95322" y="99840"/>
                  </a:cubicBezTo>
                  <a:cubicBezTo>
                    <a:pt x="95806" y="97920"/>
                    <a:pt x="97741" y="91840"/>
                    <a:pt x="97741" y="91840"/>
                  </a:cubicBezTo>
                  <a:cubicBezTo>
                    <a:pt x="120000" y="15680"/>
                    <a:pt x="120000" y="15680"/>
                    <a:pt x="120000" y="15680"/>
                  </a:cubicBezTo>
                  <a:cubicBezTo>
                    <a:pt x="120000" y="15680"/>
                    <a:pt x="78870" y="9920"/>
                    <a:pt x="64838" y="7680"/>
                  </a:cubicBezTo>
                  <a:cubicBezTo>
                    <a:pt x="53709" y="6080"/>
                    <a:pt x="20322" y="0"/>
                    <a:pt x="20322" y="0"/>
                  </a:cubicBezTo>
                  <a:cubicBezTo>
                    <a:pt x="3870" y="41600"/>
                    <a:pt x="3870" y="41600"/>
                    <a:pt x="3870" y="41600"/>
                  </a:cubicBezTo>
                  <a:lnTo>
                    <a:pt x="2419" y="41920"/>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1" name="Shape 1399">
              <a:extLst>
                <a:ext uri="{FF2B5EF4-FFF2-40B4-BE49-F238E27FC236}">
                  <a16:creationId xmlns:a16="http://schemas.microsoft.com/office/drawing/2014/main" id="{17276AFB-A5B7-042C-037B-7992D194FA8B}"/>
                </a:ext>
              </a:extLst>
            </p:cNvPr>
            <p:cNvSpPr/>
            <p:nvPr/>
          </p:nvSpPr>
          <p:spPr>
            <a:xfrm>
              <a:off x="5278001" y="1830900"/>
              <a:ext cx="440161" cy="372704"/>
            </a:xfrm>
            <a:custGeom>
              <a:avLst/>
              <a:gdLst/>
              <a:ahLst/>
              <a:cxnLst/>
              <a:rect l="0" t="0" r="0" b="0"/>
              <a:pathLst>
                <a:path w="120000" h="120000" extrusionOk="0">
                  <a:moveTo>
                    <a:pt x="97792" y="120000"/>
                  </a:moveTo>
                  <a:cubicBezTo>
                    <a:pt x="104805" y="83678"/>
                    <a:pt x="104805" y="83678"/>
                    <a:pt x="104805" y="83678"/>
                  </a:cubicBezTo>
                  <a:cubicBezTo>
                    <a:pt x="104805" y="81379"/>
                    <a:pt x="104805" y="81379"/>
                    <a:pt x="104805" y="81379"/>
                  </a:cubicBezTo>
                  <a:cubicBezTo>
                    <a:pt x="105194" y="80459"/>
                    <a:pt x="105194" y="80459"/>
                    <a:pt x="105194" y="80459"/>
                  </a:cubicBezTo>
                  <a:cubicBezTo>
                    <a:pt x="107142" y="79540"/>
                    <a:pt x="107142" y="79540"/>
                    <a:pt x="107142" y="79540"/>
                  </a:cubicBezTo>
                  <a:cubicBezTo>
                    <a:pt x="107142" y="78620"/>
                    <a:pt x="107142" y="78620"/>
                    <a:pt x="107142" y="78620"/>
                  </a:cubicBezTo>
                  <a:cubicBezTo>
                    <a:pt x="107532" y="76781"/>
                    <a:pt x="107532" y="76781"/>
                    <a:pt x="107532" y="76781"/>
                  </a:cubicBezTo>
                  <a:cubicBezTo>
                    <a:pt x="107532" y="73103"/>
                    <a:pt x="107532" y="73103"/>
                    <a:pt x="107532" y="73103"/>
                  </a:cubicBezTo>
                  <a:cubicBezTo>
                    <a:pt x="107922" y="72183"/>
                    <a:pt x="107922" y="72183"/>
                    <a:pt x="107922" y="72183"/>
                  </a:cubicBezTo>
                  <a:cubicBezTo>
                    <a:pt x="106753" y="70804"/>
                    <a:pt x="106753" y="70804"/>
                    <a:pt x="106753" y="70804"/>
                  </a:cubicBezTo>
                  <a:cubicBezTo>
                    <a:pt x="106363" y="70804"/>
                    <a:pt x="106363" y="70804"/>
                    <a:pt x="106363" y="70804"/>
                  </a:cubicBezTo>
                  <a:cubicBezTo>
                    <a:pt x="105584" y="70344"/>
                    <a:pt x="105584" y="70344"/>
                    <a:pt x="105584" y="70344"/>
                  </a:cubicBezTo>
                  <a:cubicBezTo>
                    <a:pt x="104805" y="68965"/>
                    <a:pt x="104805" y="68965"/>
                    <a:pt x="104805" y="68965"/>
                  </a:cubicBezTo>
                  <a:cubicBezTo>
                    <a:pt x="105194" y="66666"/>
                    <a:pt x="105194" y="66666"/>
                    <a:pt x="105194" y="66666"/>
                  </a:cubicBezTo>
                  <a:cubicBezTo>
                    <a:pt x="105584" y="65287"/>
                    <a:pt x="105584" y="65287"/>
                    <a:pt x="105584" y="65287"/>
                  </a:cubicBezTo>
                  <a:cubicBezTo>
                    <a:pt x="107922" y="62988"/>
                    <a:pt x="107922" y="62988"/>
                    <a:pt x="107922" y="62988"/>
                  </a:cubicBezTo>
                  <a:cubicBezTo>
                    <a:pt x="111038" y="59310"/>
                    <a:pt x="111038" y="59310"/>
                    <a:pt x="111038" y="59310"/>
                  </a:cubicBezTo>
                  <a:cubicBezTo>
                    <a:pt x="112207" y="57471"/>
                    <a:pt x="112207" y="57471"/>
                    <a:pt x="112207" y="57471"/>
                  </a:cubicBezTo>
                  <a:cubicBezTo>
                    <a:pt x="112597" y="55632"/>
                    <a:pt x="112597" y="55632"/>
                    <a:pt x="112597" y="55632"/>
                  </a:cubicBezTo>
                  <a:cubicBezTo>
                    <a:pt x="113376" y="55172"/>
                    <a:pt x="113376" y="55172"/>
                    <a:pt x="113376" y="55172"/>
                  </a:cubicBezTo>
                  <a:cubicBezTo>
                    <a:pt x="114155" y="52873"/>
                    <a:pt x="114155" y="52873"/>
                    <a:pt x="114155" y="52873"/>
                  </a:cubicBezTo>
                  <a:cubicBezTo>
                    <a:pt x="115714" y="51034"/>
                    <a:pt x="115714" y="51034"/>
                    <a:pt x="115714" y="51034"/>
                  </a:cubicBezTo>
                  <a:cubicBezTo>
                    <a:pt x="116883" y="49195"/>
                    <a:pt x="116883" y="49195"/>
                    <a:pt x="116883" y="49195"/>
                  </a:cubicBezTo>
                  <a:cubicBezTo>
                    <a:pt x="118441" y="47816"/>
                    <a:pt x="118441" y="47816"/>
                    <a:pt x="118441" y="47816"/>
                  </a:cubicBezTo>
                  <a:cubicBezTo>
                    <a:pt x="118831" y="45517"/>
                    <a:pt x="118831" y="45517"/>
                    <a:pt x="118831" y="45517"/>
                  </a:cubicBezTo>
                  <a:cubicBezTo>
                    <a:pt x="120000" y="45057"/>
                    <a:pt x="120000" y="45057"/>
                    <a:pt x="120000" y="45057"/>
                  </a:cubicBezTo>
                  <a:cubicBezTo>
                    <a:pt x="120000" y="43218"/>
                    <a:pt x="120000" y="43218"/>
                    <a:pt x="120000" y="43218"/>
                  </a:cubicBezTo>
                  <a:cubicBezTo>
                    <a:pt x="119610" y="41379"/>
                    <a:pt x="119610" y="41379"/>
                    <a:pt x="119610" y="41379"/>
                  </a:cubicBezTo>
                  <a:cubicBezTo>
                    <a:pt x="118831" y="40000"/>
                    <a:pt x="118831" y="40000"/>
                    <a:pt x="118831" y="40000"/>
                  </a:cubicBezTo>
                  <a:cubicBezTo>
                    <a:pt x="116883" y="38160"/>
                    <a:pt x="116883" y="38160"/>
                    <a:pt x="116883" y="38160"/>
                  </a:cubicBezTo>
                  <a:cubicBezTo>
                    <a:pt x="115714" y="35862"/>
                    <a:pt x="115714" y="35862"/>
                    <a:pt x="115714" y="35862"/>
                  </a:cubicBezTo>
                  <a:cubicBezTo>
                    <a:pt x="115714" y="34022"/>
                    <a:pt x="115714" y="34022"/>
                    <a:pt x="115714" y="34022"/>
                  </a:cubicBezTo>
                  <a:cubicBezTo>
                    <a:pt x="90000" y="26206"/>
                    <a:pt x="90000" y="26206"/>
                    <a:pt x="90000" y="26206"/>
                  </a:cubicBezTo>
                  <a:cubicBezTo>
                    <a:pt x="85714" y="25747"/>
                    <a:pt x="85714" y="25747"/>
                    <a:pt x="85714" y="25747"/>
                  </a:cubicBezTo>
                  <a:cubicBezTo>
                    <a:pt x="84155" y="26206"/>
                    <a:pt x="84155" y="26206"/>
                    <a:pt x="84155" y="26206"/>
                  </a:cubicBezTo>
                  <a:cubicBezTo>
                    <a:pt x="82207" y="25747"/>
                    <a:pt x="82207" y="25747"/>
                    <a:pt x="82207" y="25747"/>
                  </a:cubicBezTo>
                  <a:cubicBezTo>
                    <a:pt x="80649" y="26206"/>
                    <a:pt x="80649" y="26206"/>
                    <a:pt x="80649" y="26206"/>
                  </a:cubicBezTo>
                  <a:cubicBezTo>
                    <a:pt x="69350" y="26666"/>
                    <a:pt x="69350" y="26666"/>
                    <a:pt x="69350" y="26666"/>
                  </a:cubicBezTo>
                  <a:cubicBezTo>
                    <a:pt x="68181" y="25747"/>
                    <a:pt x="68181" y="25747"/>
                    <a:pt x="68181" y="25747"/>
                  </a:cubicBezTo>
                  <a:cubicBezTo>
                    <a:pt x="67012" y="26206"/>
                    <a:pt x="67012" y="26206"/>
                    <a:pt x="67012" y="26206"/>
                  </a:cubicBezTo>
                  <a:cubicBezTo>
                    <a:pt x="65844" y="26666"/>
                    <a:pt x="65844" y="26666"/>
                    <a:pt x="65844" y="26666"/>
                  </a:cubicBezTo>
                  <a:cubicBezTo>
                    <a:pt x="65064" y="26666"/>
                    <a:pt x="65064" y="26666"/>
                    <a:pt x="65064" y="26666"/>
                  </a:cubicBezTo>
                  <a:cubicBezTo>
                    <a:pt x="63896" y="26206"/>
                    <a:pt x="63896" y="26206"/>
                    <a:pt x="63896" y="26206"/>
                  </a:cubicBezTo>
                  <a:cubicBezTo>
                    <a:pt x="63896" y="25747"/>
                    <a:pt x="63896" y="25747"/>
                    <a:pt x="63896" y="25747"/>
                  </a:cubicBezTo>
                  <a:cubicBezTo>
                    <a:pt x="61948" y="25747"/>
                    <a:pt x="61948" y="25747"/>
                    <a:pt x="61948" y="25747"/>
                  </a:cubicBezTo>
                  <a:cubicBezTo>
                    <a:pt x="60779" y="25287"/>
                    <a:pt x="60779" y="25287"/>
                    <a:pt x="60779" y="25287"/>
                  </a:cubicBezTo>
                  <a:cubicBezTo>
                    <a:pt x="60389" y="24367"/>
                    <a:pt x="60389" y="24367"/>
                    <a:pt x="60389" y="24367"/>
                  </a:cubicBezTo>
                  <a:cubicBezTo>
                    <a:pt x="60389" y="23908"/>
                    <a:pt x="60389" y="23908"/>
                    <a:pt x="60389" y="23908"/>
                  </a:cubicBezTo>
                  <a:cubicBezTo>
                    <a:pt x="58831" y="23448"/>
                    <a:pt x="58831" y="23448"/>
                    <a:pt x="58831" y="23448"/>
                  </a:cubicBezTo>
                  <a:cubicBezTo>
                    <a:pt x="55714" y="22528"/>
                    <a:pt x="55714" y="22528"/>
                    <a:pt x="55714" y="22528"/>
                  </a:cubicBezTo>
                  <a:cubicBezTo>
                    <a:pt x="53766" y="21609"/>
                    <a:pt x="53766" y="21609"/>
                    <a:pt x="53766" y="21609"/>
                  </a:cubicBezTo>
                  <a:cubicBezTo>
                    <a:pt x="52987" y="21149"/>
                    <a:pt x="52987" y="21149"/>
                    <a:pt x="52987" y="21149"/>
                  </a:cubicBezTo>
                  <a:cubicBezTo>
                    <a:pt x="50649" y="21609"/>
                    <a:pt x="50649" y="21609"/>
                    <a:pt x="50649" y="21609"/>
                  </a:cubicBezTo>
                  <a:cubicBezTo>
                    <a:pt x="47142" y="22528"/>
                    <a:pt x="47142" y="22528"/>
                    <a:pt x="47142" y="22528"/>
                  </a:cubicBezTo>
                  <a:cubicBezTo>
                    <a:pt x="42857" y="21149"/>
                    <a:pt x="42857" y="21149"/>
                    <a:pt x="42857" y="21149"/>
                  </a:cubicBezTo>
                  <a:cubicBezTo>
                    <a:pt x="40129" y="18390"/>
                    <a:pt x="40129" y="18390"/>
                    <a:pt x="40129" y="18390"/>
                  </a:cubicBezTo>
                  <a:cubicBezTo>
                    <a:pt x="40129" y="18390"/>
                    <a:pt x="41298" y="15172"/>
                    <a:pt x="40909" y="11034"/>
                  </a:cubicBezTo>
                  <a:cubicBezTo>
                    <a:pt x="40519" y="6436"/>
                    <a:pt x="38571" y="5517"/>
                    <a:pt x="38571" y="5517"/>
                  </a:cubicBezTo>
                  <a:cubicBezTo>
                    <a:pt x="36623" y="5517"/>
                    <a:pt x="36623" y="5517"/>
                    <a:pt x="36623" y="5517"/>
                  </a:cubicBezTo>
                  <a:cubicBezTo>
                    <a:pt x="35064" y="4597"/>
                    <a:pt x="35064" y="4597"/>
                    <a:pt x="35064" y="4597"/>
                  </a:cubicBezTo>
                  <a:cubicBezTo>
                    <a:pt x="35064" y="4597"/>
                    <a:pt x="35064" y="1839"/>
                    <a:pt x="33116" y="1839"/>
                  </a:cubicBezTo>
                  <a:cubicBezTo>
                    <a:pt x="31168" y="1839"/>
                    <a:pt x="31168" y="1839"/>
                    <a:pt x="31168" y="1839"/>
                  </a:cubicBezTo>
                  <a:cubicBezTo>
                    <a:pt x="28831" y="1379"/>
                    <a:pt x="28831" y="1379"/>
                    <a:pt x="28831" y="1379"/>
                  </a:cubicBezTo>
                  <a:cubicBezTo>
                    <a:pt x="27272" y="0"/>
                    <a:pt x="27272" y="0"/>
                    <a:pt x="27272" y="0"/>
                  </a:cubicBezTo>
                  <a:cubicBezTo>
                    <a:pt x="27272" y="3218"/>
                    <a:pt x="27272" y="3218"/>
                    <a:pt x="27272" y="3218"/>
                  </a:cubicBezTo>
                  <a:cubicBezTo>
                    <a:pt x="26493" y="5977"/>
                    <a:pt x="26493" y="5977"/>
                    <a:pt x="26493" y="5977"/>
                  </a:cubicBezTo>
                  <a:cubicBezTo>
                    <a:pt x="24545" y="10114"/>
                    <a:pt x="24545" y="10114"/>
                    <a:pt x="24545" y="10114"/>
                  </a:cubicBezTo>
                  <a:cubicBezTo>
                    <a:pt x="24935" y="12873"/>
                    <a:pt x="24935" y="12873"/>
                    <a:pt x="24935" y="12873"/>
                  </a:cubicBezTo>
                  <a:cubicBezTo>
                    <a:pt x="24545" y="15172"/>
                    <a:pt x="24545" y="15172"/>
                    <a:pt x="24545" y="15172"/>
                  </a:cubicBezTo>
                  <a:cubicBezTo>
                    <a:pt x="23376" y="17471"/>
                    <a:pt x="23376" y="17471"/>
                    <a:pt x="23376" y="17471"/>
                  </a:cubicBezTo>
                  <a:cubicBezTo>
                    <a:pt x="22597" y="19770"/>
                    <a:pt x="22597" y="19770"/>
                    <a:pt x="22597" y="19770"/>
                  </a:cubicBezTo>
                  <a:cubicBezTo>
                    <a:pt x="21428" y="22988"/>
                    <a:pt x="21428" y="22988"/>
                    <a:pt x="21428" y="22988"/>
                  </a:cubicBezTo>
                  <a:cubicBezTo>
                    <a:pt x="20649" y="25287"/>
                    <a:pt x="20649" y="25287"/>
                    <a:pt x="20649" y="25287"/>
                  </a:cubicBezTo>
                  <a:cubicBezTo>
                    <a:pt x="18311" y="30804"/>
                    <a:pt x="18311" y="30804"/>
                    <a:pt x="18311" y="30804"/>
                  </a:cubicBezTo>
                  <a:cubicBezTo>
                    <a:pt x="15584" y="39080"/>
                    <a:pt x="15584" y="39080"/>
                    <a:pt x="15584" y="39080"/>
                  </a:cubicBezTo>
                  <a:cubicBezTo>
                    <a:pt x="13636" y="45057"/>
                    <a:pt x="13636" y="45057"/>
                    <a:pt x="13636" y="45057"/>
                  </a:cubicBezTo>
                  <a:cubicBezTo>
                    <a:pt x="11688" y="51034"/>
                    <a:pt x="11688" y="51034"/>
                    <a:pt x="11688" y="51034"/>
                  </a:cubicBezTo>
                  <a:cubicBezTo>
                    <a:pt x="9350" y="55172"/>
                    <a:pt x="9350" y="55172"/>
                    <a:pt x="9350" y="55172"/>
                  </a:cubicBezTo>
                  <a:cubicBezTo>
                    <a:pt x="8571" y="57011"/>
                    <a:pt x="8571" y="57011"/>
                    <a:pt x="8571" y="57011"/>
                  </a:cubicBezTo>
                  <a:cubicBezTo>
                    <a:pt x="7012" y="59770"/>
                    <a:pt x="7012" y="59770"/>
                    <a:pt x="7012" y="59770"/>
                  </a:cubicBezTo>
                  <a:cubicBezTo>
                    <a:pt x="5844" y="61149"/>
                    <a:pt x="5844" y="61149"/>
                    <a:pt x="5844" y="61149"/>
                  </a:cubicBezTo>
                  <a:cubicBezTo>
                    <a:pt x="5454" y="62528"/>
                    <a:pt x="5454" y="62528"/>
                    <a:pt x="5454" y="62528"/>
                  </a:cubicBezTo>
                  <a:cubicBezTo>
                    <a:pt x="4285" y="64827"/>
                    <a:pt x="4285" y="64827"/>
                    <a:pt x="4285" y="64827"/>
                  </a:cubicBezTo>
                  <a:cubicBezTo>
                    <a:pt x="1948" y="68045"/>
                    <a:pt x="1948" y="68045"/>
                    <a:pt x="1948" y="68045"/>
                  </a:cubicBezTo>
                  <a:cubicBezTo>
                    <a:pt x="1168" y="69885"/>
                    <a:pt x="1168" y="69885"/>
                    <a:pt x="1168" y="69885"/>
                  </a:cubicBezTo>
                  <a:cubicBezTo>
                    <a:pt x="1948" y="73563"/>
                    <a:pt x="1948" y="73563"/>
                    <a:pt x="1948" y="73563"/>
                  </a:cubicBezTo>
                  <a:cubicBezTo>
                    <a:pt x="1948" y="74482"/>
                    <a:pt x="1948" y="74482"/>
                    <a:pt x="1948" y="74482"/>
                  </a:cubicBezTo>
                  <a:cubicBezTo>
                    <a:pt x="1948" y="75402"/>
                    <a:pt x="1948" y="75402"/>
                    <a:pt x="1948" y="75402"/>
                  </a:cubicBezTo>
                  <a:cubicBezTo>
                    <a:pt x="1558" y="75862"/>
                    <a:pt x="1558" y="75862"/>
                    <a:pt x="1558" y="75862"/>
                  </a:cubicBezTo>
                  <a:cubicBezTo>
                    <a:pt x="1168" y="77701"/>
                    <a:pt x="1168" y="77701"/>
                    <a:pt x="1168" y="77701"/>
                  </a:cubicBezTo>
                  <a:cubicBezTo>
                    <a:pt x="389" y="78160"/>
                    <a:pt x="389" y="78160"/>
                    <a:pt x="389" y="78160"/>
                  </a:cubicBezTo>
                  <a:cubicBezTo>
                    <a:pt x="389" y="80000"/>
                    <a:pt x="389" y="80000"/>
                    <a:pt x="389" y="80000"/>
                  </a:cubicBezTo>
                  <a:cubicBezTo>
                    <a:pt x="0" y="83678"/>
                    <a:pt x="0" y="83678"/>
                    <a:pt x="0" y="83678"/>
                  </a:cubicBezTo>
                  <a:cubicBezTo>
                    <a:pt x="0" y="85977"/>
                    <a:pt x="0" y="85977"/>
                    <a:pt x="0" y="85977"/>
                  </a:cubicBezTo>
                  <a:cubicBezTo>
                    <a:pt x="779" y="87356"/>
                    <a:pt x="779" y="87356"/>
                    <a:pt x="779" y="87356"/>
                  </a:cubicBezTo>
                  <a:cubicBezTo>
                    <a:pt x="1168" y="88735"/>
                    <a:pt x="1168" y="88735"/>
                    <a:pt x="1168" y="88735"/>
                  </a:cubicBezTo>
                  <a:cubicBezTo>
                    <a:pt x="57272" y="107586"/>
                    <a:pt x="57272" y="107586"/>
                    <a:pt x="57272" y="107586"/>
                  </a:cubicBezTo>
                  <a:cubicBezTo>
                    <a:pt x="57272" y="107586"/>
                    <a:pt x="84155" y="116321"/>
                    <a:pt x="93116" y="118620"/>
                  </a:cubicBezTo>
                  <a:cubicBezTo>
                    <a:pt x="94285" y="119080"/>
                    <a:pt x="95844" y="119540"/>
                    <a:pt x="97792" y="120000"/>
                  </a:cubicBez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2" name="Shape 1400">
              <a:extLst>
                <a:ext uri="{FF2B5EF4-FFF2-40B4-BE49-F238E27FC236}">
                  <a16:creationId xmlns:a16="http://schemas.microsoft.com/office/drawing/2014/main" id="{BA619F84-265E-B319-E7FD-F53C5F8D6E53}"/>
                </a:ext>
              </a:extLst>
            </p:cNvPr>
            <p:cNvSpPr/>
            <p:nvPr/>
          </p:nvSpPr>
          <p:spPr>
            <a:xfrm>
              <a:off x="5637212" y="1731400"/>
              <a:ext cx="325483" cy="532915"/>
            </a:xfrm>
            <a:custGeom>
              <a:avLst/>
              <a:gdLst/>
              <a:ahLst/>
              <a:cxnLst/>
              <a:rect l="0" t="0" r="0" b="0"/>
              <a:pathLst>
                <a:path w="120000" h="120000" extrusionOk="0">
                  <a:moveTo>
                    <a:pt x="25263" y="42466"/>
                  </a:moveTo>
                  <a:cubicBezTo>
                    <a:pt x="25263" y="44396"/>
                    <a:pt x="24210" y="46005"/>
                    <a:pt x="24210" y="46005"/>
                  </a:cubicBezTo>
                  <a:cubicBezTo>
                    <a:pt x="24210" y="47292"/>
                    <a:pt x="24210" y="47292"/>
                    <a:pt x="24210" y="47292"/>
                  </a:cubicBezTo>
                  <a:cubicBezTo>
                    <a:pt x="25789" y="48900"/>
                    <a:pt x="25789" y="48900"/>
                    <a:pt x="25789" y="48900"/>
                  </a:cubicBezTo>
                  <a:cubicBezTo>
                    <a:pt x="28421" y="50187"/>
                    <a:pt x="28421" y="50187"/>
                    <a:pt x="28421" y="50187"/>
                  </a:cubicBezTo>
                  <a:cubicBezTo>
                    <a:pt x="29473" y="51152"/>
                    <a:pt x="29473" y="51152"/>
                    <a:pt x="29473" y="51152"/>
                  </a:cubicBezTo>
                  <a:cubicBezTo>
                    <a:pt x="29999" y="52439"/>
                    <a:pt x="29999" y="52439"/>
                    <a:pt x="29999" y="52439"/>
                  </a:cubicBezTo>
                  <a:cubicBezTo>
                    <a:pt x="29999" y="53726"/>
                    <a:pt x="29999" y="53726"/>
                    <a:pt x="29999" y="53726"/>
                  </a:cubicBezTo>
                  <a:cubicBezTo>
                    <a:pt x="28421" y="54048"/>
                    <a:pt x="28421" y="54048"/>
                    <a:pt x="28421" y="54048"/>
                  </a:cubicBezTo>
                  <a:cubicBezTo>
                    <a:pt x="27894" y="55656"/>
                    <a:pt x="27894" y="55656"/>
                    <a:pt x="27894" y="55656"/>
                  </a:cubicBezTo>
                  <a:cubicBezTo>
                    <a:pt x="25789" y="56621"/>
                    <a:pt x="25789" y="56621"/>
                    <a:pt x="25789" y="56621"/>
                  </a:cubicBezTo>
                  <a:cubicBezTo>
                    <a:pt x="24210" y="57908"/>
                    <a:pt x="24210" y="57908"/>
                    <a:pt x="24210" y="57908"/>
                  </a:cubicBezTo>
                  <a:cubicBezTo>
                    <a:pt x="22105" y="59195"/>
                    <a:pt x="22105" y="59195"/>
                    <a:pt x="22105" y="59195"/>
                  </a:cubicBezTo>
                  <a:cubicBezTo>
                    <a:pt x="21052" y="60804"/>
                    <a:pt x="21052" y="60804"/>
                    <a:pt x="21052" y="60804"/>
                  </a:cubicBezTo>
                  <a:cubicBezTo>
                    <a:pt x="20000" y="61126"/>
                    <a:pt x="20000" y="61126"/>
                    <a:pt x="20000" y="61126"/>
                  </a:cubicBezTo>
                  <a:cubicBezTo>
                    <a:pt x="19473" y="62412"/>
                    <a:pt x="19473" y="62412"/>
                    <a:pt x="19473" y="62412"/>
                  </a:cubicBezTo>
                  <a:cubicBezTo>
                    <a:pt x="17894" y="63699"/>
                    <a:pt x="17894" y="63699"/>
                    <a:pt x="17894" y="63699"/>
                  </a:cubicBezTo>
                  <a:cubicBezTo>
                    <a:pt x="13684" y="66273"/>
                    <a:pt x="13684" y="66273"/>
                    <a:pt x="13684" y="66273"/>
                  </a:cubicBezTo>
                  <a:cubicBezTo>
                    <a:pt x="10526" y="67882"/>
                    <a:pt x="10526" y="67882"/>
                    <a:pt x="10526" y="67882"/>
                  </a:cubicBezTo>
                  <a:cubicBezTo>
                    <a:pt x="10000" y="68847"/>
                    <a:pt x="10000" y="68847"/>
                    <a:pt x="10000" y="68847"/>
                  </a:cubicBezTo>
                  <a:cubicBezTo>
                    <a:pt x="9473" y="70455"/>
                    <a:pt x="9473" y="70455"/>
                    <a:pt x="9473" y="70455"/>
                  </a:cubicBezTo>
                  <a:cubicBezTo>
                    <a:pt x="10526" y="71420"/>
                    <a:pt x="10526" y="71420"/>
                    <a:pt x="10526" y="71420"/>
                  </a:cubicBezTo>
                  <a:cubicBezTo>
                    <a:pt x="11578" y="71742"/>
                    <a:pt x="11578" y="71742"/>
                    <a:pt x="11578" y="71742"/>
                  </a:cubicBezTo>
                  <a:cubicBezTo>
                    <a:pt x="12105" y="71742"/>
                    <a:pt x="12105" y="71742"/>
                    <a:pt x="12105" y="71742"/>
                  </a:cubicBezTo>
                  <a:cubicBezTo>
                    <a:pt x="13684" y="72707"/>
                    <a:pt x="13684" y="72707"/>
                    <a:pt x="13684" y="72707"/>
                  </a:cubicBezTo>
                  <a:cubicBezTo>
                    <a:pt x="13157" y="73351"/>
                    <a:pt x="13157" y="73351"/>
                    <a:pt x="13157" y="73351"/>
                  </a:cubicBezTo>
                  <a:cubicBezTo>
                    <a:pt x="13157" y="75924"/>
                    <a:pt x="13157" y="75924"/>
                    <a:pt x="13157" y="75924"/>
                  </a:cubicBezTo>
                  <a:cubicBezTo>
                    <a:pt x="12631" y="77211"/>
                    <a:pt x="12631" y="77211"/>
                    <a:pt x="12631" y="77211"/>
                  </a:cubicBezTo>
                  <a:cubicBezTo>
                    <a:pt x="12631" y="77855"/>
                    <a:pt x="12631" y="77855"/>
                    <a:pt x="12631" y="77855"/>
                  </a:cubicBezTo>
                  <a:cubicBezTo>
                    <a:pt x="10000" y="78498"/>
                    <a:pt x="10000" y="78498"/>
                    <a:pt x="10000" y="78498"/>
                  </a:cubicBezTo>
                  <a:cubicBezTo>
                    <a:pt x="9473" y="79142"/>
                    <a:pt x="9473" y="79142"/>
                    <a:pt x="9473" y="79142"/>
                  </a:cubicBezTo>
                  <a:cubicBezTo>
                    <a:pt x="9473" y="80750"/>
                    <a:pt x="9473" y="80750"/>
                    <a:pt x="9473" y="80750"/>
                  </a:cubicBezTo>
                  <a:cubicBezTo>
                    <a:pt x="0" y="106166"/>
                    <a:pt x="0" y="106166"/>
                    <a:pt x="0" y="106166"/>
                  </a:cubicBezTo>
                  <a:cubicBezTo>
                    <a:pt x="18421" y="108739"/>
                    <a:pt x="53684" y="113243"/>
                    <a:pt x="53684" y="113243"/>
                  </a:cubicBezTo>
                  <a:cubicBezTo>
                    <a:pt x="109473" y="119999"/>
                    <a:pt x="109473" y="119999"/>
                    <a:pt x="109473" y="119999"/>
                  </a:cubicBezTo>
                  <a:cubicBezTo>
                    <a:pt x="119999" y="82359"/>
                    <a:pt x="119999" y="82359"/>
                    <a:pt x="119999" y="82359"/>
                  </a:cubicBezTo>
                  <a:cubicBezTo>
                    <a:pt x="118947" y="81715"/>
                    <a:pt x="118947" y="81715"/>
                    <a:pt x="118947" y="81715"/>
                  </a:cubicBezTo>
                  <a:cubicBezTo>
                    <a:pt x="117894" y="81072"/>
                    <a:pt x="117894" y="81072"/>
                    <a:pt x="117894" y="81072"/>
                  </a:cubicBezTo>
                  <a:cubicBezTo>
                    <a:pt x="117894" y="80750"/>
                    <a:pt x="117894" y="80750"/>
                    <a:pt x="117894" y="80750"/>
                  </a:cubicBezTo>
                  <a:cubicBezTo>
                    <a:pt x="117368" y="79463"/>
                    <a:pt x="117368" y="79463"/>
                    <a:pt x="117368" y="79463"/>
                  </a:cubicBezTo>
                  <a:cubicBezTo>
                    <a:pt x="116315" y="78498"/>
                    <a:pt x="116315" y="78498"/>
                    <a:pt x="116315" y="78498"/>
                  </a:cubicBezTo>
                  <a:cubicBezTo>
                    <a:pt x="114736" y="77533"/>
                    <a:pt x="114736" y="77533"/>
                    <a:pt x="114736" y="77533"/>
                  </a:cubicBezTo>
                  <a:cubicBezTo>
                    <a:pt x="112631" y="77533"/>
                    <a:pt x="112631" y="77533"/>
                    <a:pt x="112631" y="77533"/>
                  </a:cubicBezTo>
                  <a:cubicBezTo>
                    <a:pt x="112105" y="79142"/>
                    <a:pt x="112105" y="79142"/>
                    <a:pt x="112105" y="79142"/>
                  </a:cubicBezTo>
                  <a:cubicBezTo>
                    <a:pt x="111578" y="80107"/>
                    <a:pt x="111578" y="80107"/>
                    <a:pt x="111578" y="80107"/>
                  </a:cubicBezTo>
                  <a:cubicBezTo>
                    <a:pt x="106315" y="79785"/>
                    <a:pt x="106315" y="79785"/>
                    <a:pt x="106315" y="79785"/>
                  </a:cubicBezTo>
                  <a:cubicBezTo>
                    <a:pt x="103684" y="79142"/>
                    <a:pt x="103684" y="79142"/>
                    <a:pt x="103684" y="79142"/>
                  </a:cubicBezTo>
                  <a:cubicBezTo>
                    <a:pt x="99473" y="78820"/>
                    <a:pt x="99473" y="78820"/>
                    <a:pt x="99473" y="78820"/>
                  </a:cubicBezTo>
                  <a:cubicBezTo>
                    <a:pt x="97368" y="78820"/>
                    <a:pt x="97368" y="78820"/>
                    <a:pt x="97368" y="78820"/>
                  </a:cubicBezTo>
                  <a:cubicBezTo>
                    <a:pt x="96842" y="79463"/>
                    <a:pt x="96842" y="79463"/>
                    <a:pt x="96842" y="79463"/>
                  </a:cubicBezTo>
                  <a:cubicBezTo>
                    <a:pt x="96842" y="80107"/>
                    <a:pt x="96842" y="80107"/>
                    <a:pt x="96842" y="80107"/>
                  </a:cubicBezTo>
                  <a:cubicBezTo>
                    <a:pt x="94210" y="79463"/>
                    <a:pt x="94210" y="79463"/>
                    <a:pt x="94210" y="79463"/>
                  </a:cubicBezTo>
                  <a:cubicBezTo>
                    <a:pt x="91578" y="78498"/>
                    <a:pt x="91578" y="78498"/>
                    <a:pt x="91578" y="78498"/>
                  </a:cubicBezTo>
                  <a:cubicBezTo>
                    <a:pt x="89999" y="78498"/>
                    <a:pt x="89999" y="78498"/>
                    <a:pt x="89999" y="78498"/>
                  </a:cubicBezTo>
                  <a:cubicBezTo>
                    <a:pt x="88947" y="78498"/>
                    <a:pt x="88947" y="78498"/>
                    <a:pt x="88947" y="78498"/>
                  </a:cubicBezTo>
                  <a:cubicBezTo>
                    <a:pt x="88421" y="79463"/>
                    <a:pt x="88421" y="79463"/>
                    <a:pt x="88421" y="79463"/>
                  </a:cubicBezTo>
                  <a:cubicBezTo>
                    <a:pt x="88421" y="80107"/>
                    <a:pt x="88421" y="80107"/>
                    <a:pt x="88421" y="80107"/>
                  </a:cubicBezTo>
                  <a:cubicBezTo>
                    <a:pt x="86315" y="80107"/>
                    <a:pt x="86315" y="80107"/>
                    <a:pt x="86315" y="80107"/>
                  </a:cubicBezTo>
                  <a:cubicBezTo>
                    <a:pt x="85263" y="78820"/>
                    <a:pt x="85263" y="78820"/>
                    <a:pt x="85263" y="78820"/>
                  </a:cubicBezTo>
                  <a:cubicBezTo>
                    <a:pt x="85263" y="77855"/>
                    <a:pt x="85263" y="77855"/>
                    <a:pt x="85263" y="77855"/>
                  </a:cubicBezTo>
                  <a:cubicBezTo>
                    <a:pt x="85263" y="76568"/>
                    <a:pt x="85263" y="76568"/>
                    <a:pt x="85263" y="76568"/>
                  </a:cubicBezTo>
                  <a:cubicBezTo>
                    <a:pt x="84210" y="74638"/>
                    <a:pt x="84210" y="74638"/>
                    <a:pt x="84210" y="74638"/>
                  </a:cubicBezTo>
                  <a:cubicBezTo>
                    <a:pt x="84210" y="72707"/>
                    <a:pt x="84210" y="72707"/>
                    <a:pt x="84210" y="72707"/>
                  </a:cubicBezTo>
                  <a:cubicBezTo>
                    <a:pt x="82105" y="72707"/>
                    <a:pt x="82105" y="72707"/>
                    <a:pt x="82105" y="72707"/>
                  </a:cubicBezTo>
                  <a:cubicBezTo>
                    <a:pt x="79473" y="71742"/>
                    <a:pt x="79473" y="71742"/>
                    <a:pt x="79473" y="71742"/>
                  </a:cubicBezTo>
                  <a:cubicBezTo>
                    <a:pt x="78421" y="70777"/>
                    <a:pt x="78421" y="70777"/>
                    <a:pt x="78421" y="70777"/>
                  </a:cubicBezTo>
                  <a:cubicBezTo>
                    <a:pt x="78421" y="70134"/>
                    <a:pt x="78421" y="70134"/>
                    <a:pt x="78421" y="70134"/>
                  </a:cubicBezTo>
                  <a:cubicBezTo>
                    <a:pt x="78421" y="68525"/>
                    <a:pt x="78421" y="68525"/>
                    <a:pt x="78421" y="68525"/>
                  </a:cubicBezTo>
                  <a:cubicBezTo>
                    <a:pt x="78421" y="66916"/>
                    <a:pt x="78421" y="66916"/>
                    <a:pt x="78421" y="66916"/>
                  </a:cubicBezTo>
                  <a:cubicBezTo>
                    <a:pt x="76315" y="65630"/>
                    <a:pt x="76315" y="65630"/>
                    <a:pt x="76315" y="65630"/>
                  </a:cubicBezTo>
                  <a:cubicBezTo>
                    <a:pt x="76315" y="64664"/>
                    <a:pt x="76315" y="64664"/>
                    <a:pt x="76315" y="64664"/>
                  </a:cubicBezTo>
                  <a:cubicBezTo>
                    <a:pt x="76315" y="62734"/>
                    <a:pt x="76315" y="62734"/>
                    <a:pt x="76315" y="62734"/>
                  </a:cubicBezTo>
                  <a:cubicBezTo>
                    <a:pt x="75789" y="60160"/>
                    <a:pt x="75789" y="60160"/>
                    <a:pt x="75789" y="60160"/>
                  </a:cubicBezTo>
                  <a:cubicBezTo>
                    <a:pt x="74736" y="58873"/>
                    <a:pt x="74736" y="58873"/>
                    <a:pt x="74736" y="58873"/>
                  </a:cubicBezTo>
                  <a:cubicBezTo>
                    <a:pt x="74210" y="57587"/>
                    <a:pt x="74210" y="57587"/>
                    <a:pt x="74210" y="57587"/>
                  </a:cubicBezTo>
                  <a:cubicBezTo>
                    <a:pt x="73157" y="57587"/>
                    <a:pt x="73157" y="57587"/>
                    <a:pt x="73157" y="57587"/>
                  </a:cubicBezTo>
                  <a:cubicBezTo>
                    <a:pt x="71052" y="58552"/>
                    <a:pt x="71052" y="58552"/>
                    <a:pt x="71052" y="58552"/>
                  </a:cubicBezTo>
                  <a:cubicBezTo>
                    <a:pt x="70000" y="58552"/>
                    <a:pt x="70000" y="58552"/>
                    <a:pt x="70000" y="58552"/>
                  </a:cubicBezTo>
                  <a:cubicBezTo>
                    <a:pt x="68421" y="58873"/>
                    <a:pt x="68421" y="58873"/>
                    <a:pt x="68421" y="58873"/>
                  </a:cubicBezTo>
                  <a:cubicBezTo>
                    <a:pt x="66842" y="59839"/>
                    <a:pt x="66842" y="59839"/>
                    <a:pt x="66842" y="59839"/>
                  </a:cubicBezTo>
                  <a:cubicBezTo>
                    <a:pt x="65789" y="59839"/>
                    <a:pt x="65789" y="59839"/>
                    <a:pt x="65789" y="59839"/>
                  </a:cubicBezTo>
                  <a:cubicBezTo>
                    <a:pt x="65789" y="58873"/>
                    <a:pt x="65789" y="58873"/>
                    <a:pt x="65789" y="58873"/>
                  </a:cubicBezTo>
                  <a:cubicBezTo>
                    <a:pt x="63684" y="58230"/>
                    <a:pt x="63684" y="58230"/>
                    <a:pt x="63684" y="58230"/>
                  </a:cubicBezTo>
                  <a:cubicBezTo>
                    <a:pt x="62631" y="57587"/>
                    <a:pt x="62631" y="57587"/>
                    <a:pt x="62631" y="57587"/>
                  </a:cubicBezTo>
                  <a:cubicBezTo>
                    <a:pt x="64210" y="55335"/>
                    <a:pt x="64210" y="55335"/>
                    <a:pt x="64210" y="55335"/>
                  </a:cubicBezTo>
                  <a:cubicBezTo>
                    <a:pt x="65789" y="54048"/>
                    <a:pt x="65789" y="54048"/>
                    <a:pt x="65789" y="54048"/>
                  </a:cubicBezTo>
                  <a:cubicBezTo>
                    <a:pt x="67368" y="54048"/>
                    <a:pt x="67368" y="54048"/>
                    <a:pt x="67368" y="54048"/>
                  </a:cubicBezTo>
                  <a:cubicBezTo>
                    <a:pt x="67894" y="53404"/>
                    <a:pt x="67894" y="53404"/>
                    <a:pt x="67894" y="53404"/>
                  </a:cubicBezTo>
                  <a:cubicBezTo>
                    <a:pt x="66842" y="51474"/>
                    <a:pt x="66842" y="51474"/>
                    <a:pt x="66842" y="51474"/>
                  </a:cubicBezTo>
                  <a:cubicBezTo>
                    <a:pt x="67368" y="49544"/>
                    <a:pt x="67368" y="49544"/>
                    <a:pt x="67368" y="49544"/>
                  </a:cubicBezTo>
                  <a:cubicBezTo>
                    <a:pt x="68947" y="47292"/>
                    <a:pt x="68947" y="47292"/>
                    <a:pt x="68947" y="47292"/>
                  </a:cubicBezTo>
                  <a:cubicBezTo>
                    <a:pt x="70526" y="45361"/>
                    <a:pt x="70526" y="45361"/>
                    <a:pt x="70526" y="45361"/>
                  </a:cubicBezTo>
                  <a:cubicBezTo>
                    <a:pt x="72105" y="43431"/>
                    <a:pt x="72105" y="43431"/>
                    <a:pt x="72105" y="43431"/>
                  </a:cubicBezTo>
                  <a:cubicBezTo>
                    <a:pt x="72105" y="42144"/>
                    <a:pt x="72105" y="42144"/>
                    <a:pt x="72105" y="42144"/>
                  </a:cubicBezTo>
                  <a:cubicBezTo>
                    <a:pt x="67368" y="41501"/>
                    <a:pt x="67368" y="41501"/>
                    <a:pt x="67368" y="41501"/>
                  </a:cubicBezTo>
                  <a:cubicBezTo>
                    <a:pt x="67368" y="41179"/>
                    <a:pt x="67368" y="41179"/>
                    <a:pt x="67368" y="41179"/>
                  </a:cubicBezTo>
                  <a:cubicBezTo>
                    <a:pt x="65789" y="39892"/>
                    <a:pt x="65789" y="39892"/>
                    <a:pt x="65789" y="39892"/>
                  </a:cubicBezTo>
                  <a:cubicBezTo>
                    <a:pt x="64736" y="37962"/>
                    <a:pt x="64736" y="37962"/>
                    <a:pt x="64736" y="37962"/>
                  </a:cubicBezTo>
                  <a:cubicBezTo>
                    <a:pt x="64210" y="35710"/>
                    <a:pt x="64210" y="35710"/>
                    <a:pt x="64210" y="35710"/>
                  </a:cubicBezTo>
                  <a:cubicBezTo>
                    <a:pt x="62631" y="34101"/>
                    <a:pt x="62631" y="34101"/>
                    <a:pt x="62631" y="34101"/>
                  </a:cubicBezTo>
                  <a:cubicBezTo>
                    <a:pt x="59999" y="32493"/>
                    <a:pt x="59999" y="32493"/>
                    <a:pt x="59999" y="32493"/>
                  </a:cubicBezTo>
                  <a:cubicBezTo>
                    <a:pt x="57368" y="29919"/>
                    <a:pt x="57368" y="29919"/>
                    <a:pt x="57368" y="29919"/>
                  </a:cubicBezTo>
                  <a:cubicBezTo>
                    <a:pt x="56842" y="28310"/>
                    <a:pt x="56842" y="28310"/>
                    <a:pt x="56842" y="28310"/>
                  </a:cubicBezTo>
                  <a:cubicBezTo>
                    <a:pt x="54736" y="26380"/>
                    <a:pt x="54736" y="26380"/>
                    <a:pt x="54736" y="26380"/>
                  </a:cubicBezTo>
                  <a:cubicBezTo>
                    <a:pt x="54736" y="25415"/>
                    <a:pt x="54736" y="25415"/>
                    <a:pt x="54736" y="25415"/>
                  </a:cubicBezTo>
                  <a:cubicBezTo>
                    <a:pt x="53157" y="24450"/>
                    <a:pt x="53157" y="24450"/>
                    <a:pt x="53157" y="24450"/>
                  </a:cubicBezTo>
                  <a:cubicBezTo>
                    <a:pt x="53157" y="23163"/>
                    <a:pt x="53157" y="23163"/>
                    <a:pt x="53157" y="23163"/>
                  </a:cubicBezTo>
                  <a:cubicBezTo>
                    <a:pt x="53157" y="22198"/>
                    <a:pt x="53157" y="22198"/>
                    <a:pt x="53157" y="22198"/>
                  </a:cubicBezTo>
                  <a:cubicBezTo>
                    <a:pt x="52105" y="20589"/>
                    <a:pt x="52105" y="20589"/>
                    <a:pt x="52105" y="20589"/>
                  </a:cubicBezTo>
                  <a:cubicBezTo>
                    <a:pt x="51052" y="19946"/>
                    <a:pt x="51052" y="19946"/>
                    <a:pt x="51052" y="19946"/>
                  </a:cubicBezTo>
                  <a:cubicBezTo>
                    <a:pt x="51052" y="18981"/>
                    <a:pt x="51052" y="18981"/>
                    <a:pt x="51052" y="18981"/>
                  </a:cubicBezTo>
                  <a:cubicBezTo>
                    <a:pt x="51578" y="15442"/>
                    <a:pt x="51578" y="15442"/>
                    <a:pt x="51578" y="15442"/>
                  </a:cubicBezTo>
                  <a:cubicBezTo>
                    <a:pt x="53157" y="11581"/>
                    <a:pt x="53157" y="11581"/>
                    <a:pt x="53157" y="11581"/>
                  </a:cubicBezTo>
                  <a:cubicBezTo>
                    <a:pt x="54736" y="8042"/>
                    <a:pt x="54736" y="8042"/>
                    <a:pt x="54736" y="8042"/>
                  </a:cubicBezTo>
                  <a:cubicBezTo>
                    <a:pt x="55789" y="5790"/>
                    <a:pt x="55789" y="5790"/>
                    <a:pt x="55789" y="5790"/>
                  </a:cubicBezTo>
                  <a:cubicBezTo>
                    <a:pt x="56842" y="2573"/>
                    <a:pt x="56842" y="2573"/>
                    <a:pt x="56842" y="2573"/>
                  </a:cubicBezTo>
                  <a:cubicBezTo>
                    <a:pt x="40000" y="0"/>
                    <a:pt x="40000" y="0"/>
                    <a:pt x="40000" y="0"/>
                  </a:cubicBezTo>
                  <a:cubicBezTo>
                    <a:pt x="40000" y="0"/>
                    <a:pt x="27368" y="36675"/>
                    <a:pt x="24736" y="38605"/>
                  </a:cubicBezTo>
                  <a:cubicBezTo>
                    <a:pt x="22631" y="40857"/>
                    <a:pt x="25263" y="40214"/>
                    <a:pt x="25263" y="42466"/>
                  </a:cubicBez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3" name="Shape 1401">
              <a:extLst>
                <a:ext uri="{FF2B5EF4-FFF2-40B4-BE49-F238E27FC236}">
                  <a16:creationId xmlns:a16="http://schemas.microsoft.com/office/drawing/2014/main" id="{5F3AE7CD-13C8-035F-336A-765BE999C4E1}"/>
                </a:ext>
              </a:extLst>
            </p:cNvPr>
            <p:cNvSpPr/>
            <p:nvPr/>
          </p:nvSpPr>
          <p:spPr>
            <a:xfrm>
              <a:off x="5775501" y="1743205"/>
              <a:ext cx="558211" cy="360899"/>
            </a:xfrm>
            <a:custGeom>
              <a:avLst/>
              <a:gdLst/>
              <a:ahLst/>
              <a:cxnLst/>
              <a:rect l="0" t="0" r="0" b="0"/>
              <a:pathLst>
                <a:path w="120000" h="120000" extrusionOk="0">
                  <a:moveTo>
                    <a:pt x="120000" y="28571"/>
                  </a:moveTo>
                  <a:cubicBezTo>
                    <a:pt x="120000" y="28571"/>
                    <a:pt x="74578" y="20000"/>
                    <a:pt x="56470" y="15714"/>
                  </a:cubicBezTo>
                  <a:cubicBezTo>
                    <a:pt x="34373" y="10476"/>
                    <a:pt x="3375" y="0"/>
                    <a:pt x="3375" y="0"/>
                  </a:cubicBezTo>
                  <a:cubicBezTo>
                    <a:pt x="2762" y="4761"/>
                    <a:pt x="2762" y="4761"/>
                    <a:pt x="2762" y="4761"/>
                  </a:cubicBezTo>
                  <a:cubicBezTo>
                    <a:pt x="2148" y="8095"/>
                    <a:pt x="2148" y="8095"/>
                    <a:pt x="2148" y="8095"/>
                  </a:cubicBezTo>
                  <a:cubicBezTo>
                    <a:pt x="1227" y="13333"/>
                    <a:pt x="1227" y="13333"/>
                    <a:pt x="1227" y="13333"/>
                  </a:cubicBezTo>
                  <a:cubicBezTo>
                    <a:pt x="306" y="19047"/>
                    <a:pt x="306" y="19047"/>
                    <a:pt x="306" y="19047"/>
                  </a:cubicBezTo>
                  <a:cubicBezTo>
                    <a:pt x="0" y="24285"/>
                    <a:pt x="0" y="24285"/>
                    <a:pt x="0" y="24285"/>
                  </a:cubicBezTo>
                  <a:cubicBezTo>
                    <a:pt x="0" y="25714"/>
                    <a:pt x="0" y="25714"/>
                    <a:pt x="0" y="25714"/>
                  </a:cubicBezTo>
                  <a:cubicBezTo>
                    <a:pt x="613" y="26666"/>
                    <a:pt x="613" y="26666"/>
                    <a:pt x="613" y="26666"/>
                  </a:cubicBezTo>
                  <a:cubicBezTo>
                    <a:pt x="1227" y="29047"/>
                    <a:pt x="1227" y="29047"/>
                    <a:pt x="1227" y="29047"/>
                  </a:cubicBezTo>
                  <a:cubicBezTo>
                    <a:pt x="1227" y="30476"/>
                    <a:pt x="1227" y="30476"/>
                    <a:pt x="1227" y="30476"/>
                  </a:cubicBezTo>
                  <a:cubicBezTo>
                    <a:pt x="1227" y="32380"/>
                    <a:pt x="1227" y="32380"/>
                    <a:pt x="1227" y="32380"/>
                  </a:cubicBezTo>
                  <a:cubicBezTo>
                    <a:pt x="2148" y="33809"/>
                    <a:pt x="2148" y="33809"/>
                    <a:pt x="2148" y="33809"/>
                  </a:cubicBezTo>
                  <a:cubicBezTo>
                    <a:pt x="2148" y="35238"/>
                    <a:pt x="2148" y="35238"/>
                    <a:pt x="2148" y="35238"/>
                  </a:cubicBezTo>
                  <a:cubicBezTo>
                    <a:pt x="3375" y="38095"/>
                    <a:pt x="3375" y="38095"/>
                    <a:pt x="3375" y="38095"/>
                  </a:cubicBezTo>
                  <a:cubicBezTo>
                    <a:pt x="3682" y="40476"/>
                    <a:pt x="3682" y="40476"/>
                    <a:pt x="3682" y="40476"/>
                  </a:cubicBezTo>
                  <a:cubicBezTo>
                    <a:pt x="5217" y="44285"/>
                    <a:pt x="5217" y="44285"/>
                    <a:pt x="5217" y="44285"/>
                  </a:cubicBezTo>
                  <a:cubicBezTo>
                    <a:pt x="6751" y="46666"/>
                    <a:pt x="6751" y="46666"/>
                    <a:pt x="6751" y="46666"/>
                  </a:cubicBezTo>
                  <a:cubicBezTo>
                    <a:pt x="7672" y="49047"/>
                    <a:pt x="7672" y="49047"/>
                    <a:pt x="7672" y="49047"/>
                  </a:cubicBezTo>
                  <a:cubicBezTo>
                    <a:pt x="7979" y="52380"/>
                    <a:pt x="7979" y="52380"/>
                    <a:pt x="7979" y="52380"/>
                  </a:cubicBezTo>
                  <a:cubicBezTo>
                    <a:pt x="8593" y="55238"/>
                    <a:pt x="8593" y="55238"/>
                    <a:pt x="8593" y="55238"/>
                  </a:cubicBezTo>
                  <a:cubicBezTo>
                    <a:pt x="9514" y="57142"/>
                    <a:pt x="9514" y="57142"/>
                    <a:pt x="9514" y="57142"/>
                  </a:cubicBezTo>
                  <a:cubicBezTo>
                    <a:pt x="9514" y="57619"/>
                    <a:pt x="9514" y="57619"/>
                    <a:pt x="9514" y="57619"/>
                  </a:cubicBezTo>
                  <a:cubicBezTo>
                    <a:pt x="12276" y="58571"/>
                    <a:pt x="12276" y="58571"/>
                    <a:pt x="12276" y="58571"/>
                  </a:cubicBezTo>
                  <a:cubicBezTo>
                    <a:pt x="12276" y="60476"/>
                    <a:pt x="12276" y="60476"/>
                    <a:pt x="12276" y="60476"/>
                  </a:cubicBezTo>
                  <a:cubicBezTo>
                    <a:pt x="11355" y="63333"/>
                    <a:pt x="11355" y="63333"/>
                    <a:pt x="11355" y="63333"/>
                  </a:cubicBezTo>
                  <a:cubicBezTo>
                    <a:pt x="10434" y="66190"/>
                    <a:pt x="10434" y="66190"/>
                    <a:pt x="10434" y="66190"/>
                  </a:cubicBezTo>
                  <a:cubicBezTo>
                    <a:pt x="9514" y="69523"/>
                    <a:pt x="9514" y="69523"/>
                    <a:pt x="9514" y="69523"/>
                  </a:cubicBezTo>
                  <a:cubicBezTo>
                    <a:pt x="9207" y="72380"/>
                    <a:pt x="9207" y="72380"/>
                    <a:pt x="9207" y="72380"/>
                  </a:cubicBezTo>
                  <a:cubicBezTo>
                    <a:pt x="9820" y="75238"/>
                    <a:pt x="9820" y="75238"/>
                    <a:pt x="9820" y="75238"/>
                  </a:cubicBezTo>
                  <a:cubicBezTo>
                    <a:pt x="9514" y="76190"/>
                    <a:pt x="9514" y="76190"/>
                    <a:pt x="9514" y="76190"/>
                  </a:cubicBezTo>
                  <a:cubicBezTo>
                    <a:pt x="8593" y="76190"/>
                    <a:pt x="8593" y="76190"/>
                    <a:pt x="8593" y="76190"/>
                  </a:cubicBezTo>
                  <a:cubicBezTo>
                    <a:pt x="7672" y="78095"/>
                    <a:pt x="7672" y="78095"/>
                    <a:pt x="7672" y="78095"/>
                  </a:cubicBezTo>
                  <a:cubicBezTo>
                    <a:pt x="6751" y="81428"/>
                    <a:pt x="6751" y="81428"/>
                    <a:pt x="6751" y="81428"/>
                  </a:cubicBezTo>
                  <a:cubicBezTo>
                    <a:pt x="7365" y="82380"/>
                    <a:pt x="7365" y="82380"/>
                    <a:pt x="7365" y="82380"/>
                  </a:cubicBezTo>
                  <a:cubicBezTo>
                    <a:pt x="8593" y="83333"/>
                    <a:pt x="8593" y="83333"/>
                    <a:pt x="8593" y="83333"/>
                  </a:cubicBezTo>
                  <a:cubicBezTo>
                    <a:pt x="8593" y="84761"/>
                    <a:pt x="8593" y="84761"/>
                    <a:pt x="8593" y="84761"/>
                  </a:cubicBezTo>
                  <a:cubicBezTo>
                    <a:pt x="9207" y="84761"/>
                    <a:pt x="9207" y="84761"/>
                    <a:pt x="9207" y="84761"/>
                  </a:cubicBezTo>
                  <a:cubicBezTo>
                    <a:pt x="10127" y="83333"/>
                    <a:pt x="10127" y="83333"/>
                    <a:pt x="10127" y="83333"/>
                  </a:cubicBezTo>
                  <a:cubicBezTo>
                    <a:pt x="11048" y="82857"/>
                    <a:pt x="11048" y="82857"/>
                    <a:pt x="11048" y="82857"/>
                  </a:cubicBezTo>
                  <a:cubicBezTo>
                    <a:pt x="11662" y="82857"/>
                    <a:pt x="11662" y="82857"/>
                    <a:pt x="11662" y="82857"/>
                  </a:cubicBezTo>
                  <a:cubicBezTo>
                    <a:pt x="12890" y="81428"/>
                    <a:pt x="12890" y="81428"/>
                    <a:pt x="12890" y="81428"/>
                  </a:cubicBezTo>
                  <a:cubicBezTo>
                    <a:pt x="13503" y="81428"/>
                    <a:pt x="13503" y="81428"/>
                    <a:pt x="13503" y="81428"/>
                  </a:cubicBezTo>
                  <a:cubicBezTo>
                    <a:pt x="13810" y="83333"/>
                    <a:pt x="13810" y="83333"/>
                    <a:pt x="13810" y="83333"/>
                  </a:cubicBezTo>
                  <a:cubicBezTo>
                    <a:pt x="14424" y="85238"/>
                    <a:pt x="14424" y="85238"/>
                    <a:pt x="14424" y="85238"/>
                  </a:cubicBezTo>
                  <a:cubicBezTo>
                    <a:pt x="14731" y="89047"/>
                    <a:pt x="14731" y="89047"/>
                    <a:pt x="14731" y="89047"/>
                  </a:cubicBezTo>
                  <a:cubicBezTo>
                    <a:pt x="14731" y="91904"/>
                    <a:pt x="14731" y="91904"/>
                    <a:pt x="14731" y="91904"/>
                  </a:cubicBezTo>
                  <a:cubicBezTo>
                    <a:pt x="14731" y="93333"/>
                    <a:pt x="14731" y="93333"/>
                    <a:pt x="14731" y="93333"/>
                  </a:cubicBezTo>
                  <a:cubicBezTo>
                    <a:pt x="15959" y="95238"/>
                    <a:pt x="15959" y="95238"/>
                    <a:pt x="15959" y="95238"/>
                  </a:cubicBezTo>
                  <a:cubicBezTo>
                    <a:pt x="15959" y="97619"/>
                    <a:pt x="15959" y="97619"/>
                    <a:pt x="15959" y="97619"/>
                  </a:cubicBezTo>
                  <a:cubicBezTo>
                    <a:pt x="15959" y="100000"/>
                    <a:pt x="15959" y="100000"/>
                    <a:pt x="15959" y="100000"/>
                  </a:cubicBezTo>
                  <a:cubicBezTo>
                    <a:pt x="15959" y="100952"/>
                    <a:pt x="15959" y="100952"/>
                    <a:pt x="15959" y="100952"/>
                  </a:cubicBezTo>
                  <a:cubicBezTo>
                    <a:pt x="16572" y="102380"/>
                    <a:pt x="16572" y="102380"/>
                    <a:pt x="16572" y="102380"/>
                  </a:cubicBezTo>
                  <a:cubicBezTo>
                    <a:pt x="18107" y="103809"/>
                    <a:pt x="18107" y="103809"/>
                    <a:pt x="18107" y="103809"/>
                  </a:cubicBezTo>
                  <a:cubicBezTo>
                    <a:pt x="19335" y="103809"/>
                    <a:pt x="19335" y="103809"/>
                    <a:pt x="19335" y="103809"/>
                  </a:cubicBezTo>
                  <a:cubicBezTo>
                    <a:pt x="19335" y="106666"/>
                    <a:pt x="19335" y="106666"/>
                    <a:pt x="19335" y="106666"/>
                  </a:cubicBezTo>
                  <a:cubicBezTo>
                    <a:pt x="19948" y="109523"/>
                    <a:pt x="19948" y="109523"/>
                    <a:pt x="19948" y="109523"/>
                  </a:cubicBezTo>
                  <a:cubicBezTo>
                    <a:pt x="19948" y="111428"/>
                    <a:pt x="19948" y="111428"/>
                    <a:pt x="19948" y="111428"/>
                  </a:cubicBezTo>
                  <a:cubicBezTo>
                    <a:pt x="19948" y="112857"/>
                    <a:pt x="19948" y="112857"/>
                    <a:pt x="19948" y="112857"/>
                  </a:cubicBezTo>
                  <a:cubicBezTo>
                    <a:pt x="20562" y="114761"/>
                    <a:pt x="20562" y="114761"/>
                    <a:pt x="20562" y="114761"/>
                  </a:cubicBezTo>
                  <a:cubicBezTo>
                    <a:pt x="21790" y="114761"/>
                    <a:pt x="21790" y="114761"/>
                    <a:pt x="21790" y="114761"/>
                  </a:cubicBezTo>
                  <a:cubicBezTo>
                    <a:pt x="21790" y="113809"/>
                    <a:pt x="21790" y="113809"/>
                    <a:pt x="21790" y="113809"/>
                  </a:cubicBezTo>
                  <a:cubicBezTo>
                    <a:pt x="22097" y="112380"/>
                    <a:pt x="22097" y="112380"/>
                    <a:pt x="22097" y="112380"/>
                  </a:cubicBezTo>
                  <a:cubicBezTo>
                    <a:pt x="22710" y="112380"/>
                    <a:pt x="22710" y="112380"/>
                    <a:pt x="22710" y="112380"/>
                  </a:cubicBezTo>
                  <a:cubicBezTo>
                    <a:pt x="23631" y="112380"/>
                    <a:pt x="23631" y="112380"/>
                    <a:pt x="23631" y="112380"/>
                  </a:cubicBezTo>
                  <a:cubicBezTo>
                    <a:pt x="25166" y="113809"/>
                    <a:pt x="25166" y="113809"/>
                    <a:pt x="25166" y="113809"/>
                  </a:cubicBezTo>
                  <a:cubicBezTo>
                    <a:pt x="26700" y="114761"/>
                    <a:pt x="26700" y="114761"/>
                    <a:pt x="26700" y="114761"/>
                  </a:cubicBezTo>
                  <a:cubicBezTo>
                    <a:pt x="26700" y="113809"/>
                    <a:pt x="26700" y="113809"/>
                    <a:pt x="26700" y="113809"/>
                  </a:cubicBezTo>
                  <a:cubicBezTo>
                    <a:pt x="27007" y="112857"/>
                    <a:pt x="27007" y="112857"/>
                    <a:pt x="27007" y="112857"/>
                  </a:cubicBezTo>
                  <a:cubicBezTo>
                    <a:pt x="28235" y="112857"/>
                    <a:pt x="28235" y="112857"/>
                    <a:pt x="28235" y="112857"/>
                  </a:cubicBezTo>
                  <a:cubicBezTo>
                    <a:pt x="30690" y="113333"/>
                    <a:pt x="30690" y="113333"/>
                    <a:pt x="30690" y="113333"/>
                  </a:cubicBezTo>
                  <a:cubicBezTo>
                    <a:pt x="32225" y="114285"/>
                    <a:pt x="32225" y="114285"/>
                    <a:pt x="32225" y="114285"/>
                  </a:cubicBezTo>
                  <a:cubicBezTo>
                    <a:pt x="35294" y="114761"/>
                    <a:pt x="35294" y="114761"/>
                    <a:pt x="35294" y="114761"/>
                  </a:cubicBezTo>
                  <a:cubicBezTo>
                    <a:pt x="35601" y="113333"/>
                    <a:pt x="35601" y="113333"/>
                    <a:pt x="35601" y="113333"/>
                  </a:cubicBezTo>
                  <a:cubicBezTo>
                    <a:pt x="35907" y="110952"/>
                    <a:pt x="35907" y="110952"/>
                    <a:pt x="35907" y="110952"/>
                  </a:cubicBezTo>
                  <a:cubicBezTo>
                    <a:pt x="37135" y="110952"/>
                    <a:pt x="37135" y="110952"/>
                    <a:pt x="37135" y="110952"/>
                  </a:cubicBezTo>
                  <a:cubicBezTo>
                    <a:pt x="38056" y="112380"/>
                    <a:pt x="38056" y="112380"/>
                    <a:pt x="38056" y="112380"/>
                  </a:cubicBezTo>
                  <a:cubicBezTo>
                    <a:pt x="38670" y="113809"/>
                    <a:pt x="38670" y="113809"/>
                    <a:pt x="38670" y="113809"/>
                  </a:cubicBezTo>
                  <a:cubicBezTo>
                    <a:pt x="38976" y="115714"/>
                    <a:pt x="38976" y="115714"/>
                    <a:pt x="38976" y="115714"/>
                  </a:cubicBezTo>
                  <a:cubicBezTo>
                    <a:pt x="38976" y="116190"/>
                    <a:pt x="38976" y="116190"/>
                    <a:pt x="38976" y="116190"/>
                  </a:cubicBezTo>
                  <a:cubicBezTo>
                    <a:pt x="39590" y="117142"/>
                    <a:pt x="39590" y="117142"/>
                    <a:pt x="39590" y="117142"/>
                  </a:cubicBezTo>
                  <a:cubicBezTo>
                    <a:pt x="40204" y="118095"/>
                    <a:pt x="40204" y="118095"/>
                    <a:pt x="40204" y="118095"/>
                  </a:cubicBezTo>
                  <a:cubicBezTo>
                    <a:pt x="41739" y="105238"/>
                    <a:pt x="41739" y="105238"/>
                    <a:pt x="41739" y="105238"/>
                  </a:cubicBezTo>
                  <a:cubicBezTo>
                    <a:pt x="114168" y="120000"/>
                    <a:pt x="114168" y="120000"/>
                    <a:pt x="114168" y="120000"/>
                  </a:cubicBezTo>
                  <a:cubicBezTo>
                    <a:pt x="114475" y="120000"/>
                    <a:pt x="114475" y="120000"/>
                    <a:pt x="114475" y="120000"/>
                  </a:cubicBezTo>
                  <a:cubicBezTo>
                    <a:pt x="115703" y="98571"/>
                    <a:pt x="115703" y="98571"/>
                    <a:pt x="115703" y="98571"/>
                  </a:cubicBezTo>
                  <a:lnTo>
                    <a:pt x="120000" y="28571"/>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4" name="Shape 1402">
              <a:extLst>
                <a:ext uri="{FF2B5EF4-FFF2-40B4-BE49-F238E27FC236}">
                  <a16:creationId xmlns:a16="http://schemas.microsoft.com/office/drawing/2014/main" id="{3437FE85-EB7F-2C73-52B8-78FEACE1D62F}"/>
                </a:ext>
              </a:extLst>
            </p:cNvPr>
            <p:cNvSpPr/>
            <p:nvPr/>
          </p:nvSpPr>
          <p:spPr>
            <a:xfrm>
              <a:off x="7897045" y="1787052"/>
              <a:ext cx="197314" cy="315364"/>
            </a:xfrm>
            <a:custGeom>
              <a:avLst/>
              <a:gdLst/>
              <a:ahLst/>
              <a:cxnLst/>
              <a:rect l="0" t="0" r="0" b="0"/>
              <a:pathLst>
                <a:path w="120000" h="120000" extrusionOk="0">
                  <a:moveTo>
                    <a:pt x="33846" y="120000"/>
                  </a:moveTo>
                  <a:lnTo>
                    <a:pt x="33846" y="118716"/>
                  </a:lnTo>
                  <a:lnTo>
                    <a:pt x="34871" y="116791"/>
                  </a:lnTo>
                  <a:lnTo>
                    <a:pt x="34871" y="116149"/>
                  </a:lnTo>
                  <a:lnTo>
                    <a:pt x="34871" y="114224"/>
                  </a:lnTo>
                  <a:lnTo>
                    <a:pt x="34871" y="112941"/>
                  </a:lnTo>
                  <a:lnTo>
                    <a:pt x="35897" y="111657"/>
                  </a:lnTo>
                  <a:lnTo>
                    <a:pt x="37948" y="111657"/>
                  </a:lnTo>
                  <a:lnTo>
                    <a:pt x="37948" y="109732"/>
                  </a:lnTo>
                  <a:lnTo>
                    <a:pt x="38974" y="108449"/>
                  </a:lnTo>
                  <a:lnTo>
                    <a:pt x="38974" y="106524"/>
                  </a:lnTo>
                  <a:lnTo>
                    <a:pt x="41025" y="106524"/>
                  </a:lnTo>
                  <a:lnTo>
                    <a:pt x="42051" y="106524"/>
                  </a:lnTo>
                  <a:lnTo>
                    <a:pt x="45128" y="106524"/>
                  </a:lnTo>
                  <a:lnTo>
                    <a:pt x="45128" y="103315"/>
                  </a:lnTo>
                  <a:lnTo>
                    <a:pt x="42051" y="103315"/>
                  </a:lnTo>
                  <a:lnTo>
                    <a:pt x="41025" y="103315"/>
                  </a:lnTo>
                  <a:lnTo>
                    <a:pt x="41025" y="102032"/>
                  </a:lnTo>
                  <a:lnTo>
                    <a:pt x="41025" y="101390"/>
                  </a:lnTo>
                  <a:lnTo>
                    <a:pt x="43076" y="100106"/>
                  </a:lnTo>
                  <a:lnTo>
                    <a:pt x="43076" y="99465"/>
                  </a:lnTo>
                  <a:lnTo>
                    <a:pt x="45128" y="98181"/>
                  </a:lnTo>
                  <a:lnTo>
                    <a:pt x="46153" y="98823"/>
                  </a:lnTo>
                  <a:lnTo>
                    <a:pt x="46153" y="99465"/>
                  </a:lnTo>
                  <a:lnTo>
                    <a:pt x="48205" y="98823"/>
                  </a:lnTo>
                  <a:lnTo>
                    <a:pt x="49230" y="98181"/>
                  </a:lnTo>
                  <a:lnTo>
                    <a:pt x="49230" y="96256"/>
                  </a:lnTo>
                  <a:lnTo>
                    <a:pt x="51282" y="97540"/>
                  </a:lnTo>
                  <a:lnTo>
                    <a:pt x="52307" y="98181"/>
                  </a:lnTo>
                  <a:lnTo>
                    <a:pt x="53333" y="98181"/>
                  </a:lnTo>
                  <a:lnTo>
                    <a:pt x="53333" y="96256"/>
                  </a:lnTo>
                  <a:lnTo>
                    <a:pt x="53333" y="95614"/>
                  </a:lnTo>
                  <a:lnTo>
                    <a:pt x="52307" y="95614"/>
                  </a:lnTo>
                  <a:lnTo>
                    <a:pt x="51282" y="94331"/>
                  </a:lnTo>
                  <a:lnTo>
                    <a:pt x="55384" y="94331"/>
                  </a:lnTo>
                  <a:lnTo>
                    <a:pt x="57435" y="94973"/>
                  </a:lnTo>
                  <a:lnTo>
                    <a:pt x="60512" y="94331"/>
                  </a:lnTo>
                  <a:lnTo>
                    <a:pt x="61538" y="92406"/>
                  </a:lnTo>
                  <a:lnTo>
                    <a:pt x="60512" y="89197"/>
                  </a:lnTo>
                  <a:lnTo>
                    <a:pt x="62564" y="89197"/>
                  </a:lnTo>
                  <a:lnTo>
                    <a:pt x="65641" y="91122"/>
                  </a:lnTo>
                  <a:lnTo>
                    <a:pt x="68717" y="90481"/>
                  </a:lnTo>
                  <a:lnTo>
                    <a:pt x="69743" y="89197"/>
                  </a:lnTo>
                  <a:lnTo>
                    <a:pt x="70769" y="86631"/>
                  </a:lnTo>
                  <a:lnTo>
                    <a:pt x="69743" y="84705"/>
                  </a:lnTo>
                  <a:lnTo>
                    <a:pt x="70769" y="82139"/>
                  </a:lnTo>
                  <a:lnTo>
                    <a:pt x="70769" y="80855"/>
                  </a:lnTo>
                  <a:lnTo>
                    <a:pt x="69743" y="78930"/>
                  </a:lnTo>
                  <a:lnTo>
                    <a:pt x="69743" y="77647"/>
                  </a:lnTo>
                  <a:lnTo>
                    <a:pt x="70769" y="75721"/>
                  </a:lnTo>
                  <a:lnTo>
                    <a:pt x="70769" y="74438"/>
                  </a:lnTo>
                  <a:lnTo>
                    <a:pt x="74871" y="77005"/>
                  </a:lnTo>
                  <a:lnTo>
                    <a:pt x="75897" y="78288"/>
                  </a:lnTo>
                  <a:lnTo>
                    <a:pt x="81025" y="78288"/>
                  </a:lnTo>
                  <a:lnTo>
                    <a:pt x="81025" y="77005"/>
                  </a:lnTo>
                  <a:lnTo>
                    <a:pt x="81025" y="74438"/>
                  </a:lnTo>
                  <a:lnTo>
                    <a:pt x="83076" y="73796"/>
                  </a:lnTo>
                  <a:lnTo>
                    <a:pt x="86153" y="74438"/>
                  </a:lnTo>
                  <a:lnTo>
                    <a:pt x="86153" y="75721"/>
                  </a:lnTo>
                  <a:lnTo>
                    <a:pt x="86153" y="78288"/>
                  </a:lnTo>
                  <a:lnTo>
                    <a:pt x="89230" y="77647"/>
                  </a:lnTo>
                  <a:lnTo>
                    <a:pt x="92307" y="75721"/>
                  </a:lnTo>
                  <a:lnTo>
                    <a:pt x="90256" y="74438"/>
                  </a:lnTo>
                  <a:lnTo>
                    <a:pt x="88205" y="73155"/>
                  </a:lnTo>
                  <a:lnTo>
                    <a:pt x="88205" y="71871"/>
                  </a:lnTo>
                  <a:lnTo>
                    <a:pt x="89230" y="71229"/>
                  </a:lnTo>
                  <a:lnTo>
                    <a:pt x="92307" y="73155"/>
                  </a:lnTo>
                  <a:lnTo>
                    <a:pt x="95384" y="74438"/>
                  </a:lnTo>
                  <a:lnTo>
                    <a:pt x="97435" y="73796"/>
                  </a:lnTo>
                  <a:lnTo>
                    <a:pt x="96410" y="71229"/>
                  </a:lnTo>
                  <a:lnTo>
                    <a:pt x="97435" y="71229"/>
                  </a:lnTo>
                  <a:lnTo>
                    <a:pt x="99487" y="71229"/>
                  </a:lnTo>
                  <a:lnTo>
                    <a:pt x="99487" y="67379"/>
                  </a:lnTo>
                  <a:lnTo>
                    <a:pt x="103589" y="67379"/>
                  </a:lnTo>
                  <a:lnTo>
                    <a:pt x="105641" y="67379"/>
                  </a:lnTo>
                  <a:lnTo>
                    <a:pt x="106666" y="66737"/>
                  </a:lnTo>
                  <a:lnTo>
                    <a:pt x="106666" y="64812"/>
                  </a:lnTo>
                  <a:lnTo>
                    <a:pt x="108717" y="64812"/>
                  </a:lnTo>
                  <a:lnTo>
                    <a:pt x="109743" y="64171"/>
                  </a:lnTo>
                  <a:lnTo>
                    <a:pt x="112820" y="62245"/>
                  </a:lnTo>
                  <a:lnTo>
                    <a:pt x="116923" y="62245"/>
                  </a:lnTo>
                  <a:lnTo>
                    <a:pt x="118974" y="60962"/>
                  </a:lnTo>
                  <a:lnTo>
                    <a:pt x="120000" y="57112"/>
                  </a:lnTo>
                  <a:lnTo>
                    <a:pt x="118974" y="56470"/>
                  </a:lnTo>
                  <a:lnTo>
                    <a:pt x="117948" y="56470"/>
                  </a:lnTo>
                  <a:lnTo>
                    <a:pt x="115897" y="56470"/>
                  </a:lnTo>
                  <a:lnTo>
                    <a:pt x="114871" y="55187"/>
                  </a:lnTo>
                  <a:lnTo>
                    <a:pt x="116923" y="53903"/>
                  </a:lnTo>
                  <a:lnTo>
                    <a:pt x="116923" y="53262"/>
                  </a:lnTo>
                  <a:lnTo>
                    <a:pt x="114871" y="52620"/>
                  </a:lnTo>
                  <a:lnTo>
                    <a:pt x="112820" y="49411"/>
                  </a:lnTo>
                  <a:lnTo>
                    <a:pt x="108717" y="49411"/>
                  </a:lnTo>
                  <a:lnTo>
                    <a:pt x="106666" y="49411"/>
                  </a:lnTo>
                  <a:lnTo>
                    <a:pt x="104615" y="46844"/>
                  </a:lnTo>
                  <a:lnTo>
                    <a:pt x="103589" y="43636"/>
                  </a:lnTo>
                  <a:lnTo>
                    <a:pt x="103589" y="41069"/>
                  </a:lnTo>
                  <a:lnTo>
                    <a:pt x="102564" y="39144"/>
                  </a:lnTo>
                  <a:lnTo>
                    <a:pt x="99487" y="39786"/>
                  </a:lnTo>
                  <a:lnTo>
                    <a:pt x="97435" y="40427"/>
                  </a:lnTo>
                  <a:lnTo>
                    <a:pt x="93333" y="40427"/>
                  </a:lnTo>
                  <a:lnTo>
                    <a:pt x="89230" y="39144"/>
                  </a:lnTo>
                  <a:lnTo>
                    <a:pt x="86153" y="35935"/>
                  </a:lnTo>
                  <a:lnTo>
                    <a:pt x="85128" y="31443"/>
                  </a:lnTo>
                  <a:lnTo>
                    <a:pt x="81025" y="25668"/>
                  </a:lnTo>
                  <a:lnTo>
                    <a:pt x="78974" y="19893"/>
                  </a:lnTo>
                  <a:lnTo>
                    <a:pt x="76923" y="16684"/>
                  </a:lnTo>
                  <a:lnTo>
                    <a:pt x="74871" y="11550"/>
                  </a:lnTo>
                  <a:lnTo>
                    <a:pt x="72820" y="7058"/>
                  </a:lnTo>
                  <a:lnTo>
                    <a:pt x="70769" y="5133"/>
                  </a:lnTo>
                  <a:lnTo>
                    <a:pt x="57435" y="0"/>
                  </a:lnTo>
                  <a:lnTo>
                    <a:pt x="54358" y="1925"/>
                  </a:lnTo>
                  <a:lnTo>
                    <a:pt x="51282" y="4491"/>
                  </a:lnTo>
                  <a:lnTo>
                    <a:pt x="46153" y="7058"/>
                  </a:lnTo>
                  <a:lnTo>
                    <a:pt x="43076" y="7058"/>
                  </a:lnTo>
                  <a:lnTo>
                    <a:pt x="40000" y="5775"/>
                  </a:lnTo>
                  <a:lnTo>
                    <a:pt x="34871" y="3850"/>
                  </a:lnTo>
                  <a:lnTo>
                    <a:pt x="30769" y="3208"/>
                  </a:lnTo>
                  <a:lnTo>
                    <a:pt x="29743" y="3208"/>
                  </a:lnTo>
                  <a:lnTo>
                    <a:pt x="27692" y="4491"/>
                  </a:lnTo>
                  <a:lnTo>
                    <a:pt x="22564" y="14117"/>
                  </a:lnTo>
                  <a:lnTo>
                    <a:pt x="20512" y="21176"/>
                  </a:lnTo>
                  <a:lnTo>
                    <a:pt x="15384" y="28877"/>
                  </a:lnTo>
                  <a:lnTo>
                    <a:pt x="13333" y="34652"/>
                  </a:lnTo>
                  <a:lnTo>
                    <a:pt x="12307" y="41069"/>
                  </a:lnTo>
                  <a:lnTo>
                    <a:pt x="13333" y="44278"/>
                  </a:lnTo>
                  <a:lnTo>
                    <a:pt x="15384" y="45561"/>
                  </a:lnTo>
                  <a:lnTo>
                    <a:pt x="14358" y="46844"/>
                  </a:lnTo>
                  <a:lnTo>
                    <a:pt x="12307" y="48770"/>
                  </a:lnTo>
                  <a:lnTo>
                    <a:pt x="12307" y="52620"/>
                  </a:lnTo>
                  <a:lnTo>
                    <a:pt x="10256" y="55828"/>
                  </a:lnTo>
                  <a:lnTo>
                    <a:pt x="10256" y="60320"/>
                  </a:lnTo>
                  <a:lnTo>
                    <a:pt x="7179" y="60962"/>
                  </a:lnTo>
                  <a:lnTo>
                    <a:pt x="7179" y="64171"/>
                  </a:lnTo>
                  <a:lnTo>
                    <a:pt x="1025" y="64171"/>
                  </a:lnTo>
                  <a:lnTo>
                    <a:pt x="0" y="66096"/>
                  </a:lnTo>
                  <a:lnTo>
                    <a:pt x="23589" y="114224"/>
                  </a:lnTo>
                  <a:lnTo>
                    <a:pt x="33846" y="12000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6" name="Shape 1403">
              <a:extLst>
                <a:ext uri="{FF2B5EF4-FFF2-40B4-BE49-F238E27FC236}">
                  <a16:creationId xmlns:a16="http://schemas.microsoft.com/office/drawing/2014/main" id="{D6DEC33C-B08D-B2B4-BD99-B9C7E3B9585A}"/>
                </a:ext>
              </a:extLst>
            </p:cNvPr>
            <p:cNvSpPr/>
            <p:nvPr/>
          </p:nvSpPr>
          <p:spPr>
            <a:xfrm>
              <a:off x="7517596" y="2002917"/>
              <a:ext cx="408118" cy="300186"/>
            </a:xfrm>
            <a:custGeom>
              <a:avLst/>
              <a:gdLst/>
              <a:ahLst/>
              <a:cxnLst/>
              <a:rect l="0" t="0" r="0" b="0"/>
              <a:pathLst>
                <a:path w="120000" h="120000" extrusionOk="0">
                  <a:moveTo>
                    <a:pt x="0" y="98426"/>
                  </a:moveTo>
                  <a:lnTo>
                    <a:pt x="4958" y="91685"/>
                  </a:lnTo>
                  <a:lnTo>
                    <a:pt x="5950" y="89662"/>
                  </a:lnTo>
                  <a:lnTo>
                    <a:pt x="7933" y="86966"/>
                  </a:lnTo>
                  <a:lnTo>
                    <a:pt x="8925" y="85617"/>
                  </a:lnTo>
                  <a:lnTo>
                    <a:pt x="10909" y="83595"/>
                  </a:lnTo>
                  <a:lnTo>
                    <a:pt x="10909" y="81573"/>
                  </a:lnTo>
                  <a:lnTo>
                    <a:pt x="10909" y="80224"/>
                  </a:lnTo>
                  <a:lnTo>
                    <a:pt x="8429" y="73483"/>
                  </a:lnTo>
                  <a:lnTo>
                    <a:pt x="6942" y="68764"/>
                  </a:lnTo>
                  <a:lnTo>
                    <a:pt x="8925" y="66741"/>
                  </a:lnTo>
                  <a:lnTo>
                    <a:pt x="15371" y="64719"/>
                  </a:lnTo>
                  <a:lnTo>
                    <a:pt x="18842" y="64719"/>
                  </a:lnTo>
                  <a:lnTo>
                    <a:pt x="23305" y="64719"/>
                  </a:lnTo>
                  <a:lnTo>
                    <a:pt x="26280" y="64719"/>
                  </a:lnTo>
                  <a:lnTo>
                    <a:pt x="27768" y="64719"/>
                  </a:lnTo>
                  <a:lnTo>
                    <a:pt x="31239" y="62696"/>
                  </a:lnTo>
                  <a:lnTo>
                    <a:pt x="33223" y="62696"/>
                  </a:lnTo>
                  <a:lnTo>
                    <a:pt x="38181" y="60674"/>
                  </a:lnTo>
                  <a:lnTo>
                    <a:pt x="41157" y="55955"/>
                  </a:lnTo>
                  <a:lnTo>
                    <a:pt x="44132" y="53932"/>
                  </a:lnTo>
                  <a:lnTo>
                    <a:pt x="46115" y="51910"/>
                  </a:lnTo>
                  <a:lnTo>
                    <a:pt x="46115" y="50561"/>
                  </a:lnTo>
                  <a:lnTo>
                    <a:pt x="46115" y="47865"/>
                  </a:lnTo>
                  <a:lnTo>
                    <a:pt x="44132" y="44494"/>
                  </a:lnTo>
                  <a:lnTo>
                    <a:pt x="46115" y="42471"/>
                  </a:lnTo>
                  <a:lnTo>
                    <a:pt x="46611" y="39775"/>
                  </a:lnTo>
                  <a:lnTo>
                    <a:pt x="44132" y="41123"/>
                  </a:lnTo>
                  <a:lnTo>
                    <a:pt x="43140" y="39775"/>
                  </a:lnTo>
                  <a:lnTo>
                    <a:pt x="42148" y="37078"/>
                  </a:lnTo>
                  <a:lnTo>
                    <a:pt x="44628" y="34382"/>
                  </a:lnTo>
                  <a:lnTo>
                    <a:pt x="48595" y="29662"/>
                  </a:lnTo>
                  <a:lnTo>
                    <a:pt x="50082" y="25617"/>
                  </a:lnTo>
                  <a:lnTo>
                    <a:pt x="50578" y="22247"/>
                  </a:lnTo>
                  <a:lnTo>
                    <a:pt x="54545" y="15505"/>
                  </a:lnTo>
                  <a:lnTo>
                    <a:pt x="57520" y="10112"/>
                  </a:lnTo>
                  <a:lnTo>
                    <a:pt x="60991" y="6741"/>
                  </a:lnTo>
                  <a:lnTo>
                    <a:pt x="64462" y="5393"/>
                  </a:lnTo>
                  <a:lnTo>
                    <a:pt x="69917" y="3370"/>
                  </a:lnTo>
                  <a:lnTo>
                    <a:pt x="72892" y="1348"/>
                  </a:lnTo>
                  <a:lnTo>
                    <a:pt x="80826" y="0"/>
                  </a:lnTo>
                  <a:lnTo>
                    <a:pt x="80826" y="3370"/>
                  </a:lnTo>
                  <a:lnTo>
                    <a:pt x="80826" y="7415"/>
                  </a:lnTo>
                  <a:lnTo>
                    <a:pt x="81818" y="10786"/>
                  </a:lnTo>
                  <a:lnTo>
                    <a:pt x="83305" y="15505"/>
                  </a:lnTo>
                  <a:lnTo>
                    <a:pt x="84793" y="16179"/>
                  </a:lnTo>
                  <a:lnTo>
                    <a:pt x="86280" y="21573"/>
                  </a:lnTo>
                  <a:lnTo>
                    <a:pt x="84793" y="22921"/>
                  </a:lnTo>
                  <a:lnTo>
                    <a:pt x="84297" y="27640"/>
                  </a:lnTo>
                  <a:lnTo>
                    <a:pt x="86280" y="32359"/>
                  </a:lnTo>
                  <a:lnTo>
                    <a:pt x="87768" y="37752"/>
                  </a:lnTo>
                  <a:lnTo>
                    <a:pt x="89752" y="39775"/>
                  </a:lnTo>
                  <a:lnTo>
                    <a:pt x="90247" y="47191"/>
                  </a:lnTo>
                  <a:lnTo>
                    <a:pt x="91239" y="53258"/>
                  </a:lnTo>
                  <a:lnTo>
                    <a:pt x="93223" y="59325"/>
                  </a:lnTo>
                  <a:lnTo>
                    <a:pt x="93223" y="60000"/>
                  </a:lnTo>
                  <a:lnTo>
                    <a:pt x="93223" y="68764"/>
                  </a:lnTo>
                  <a:lnTo>
                    <a:pt x="93223" y="80898"/>
                  </a:lnTo>
                  <a:lnTo>
                    <a:pt x="95206" y="93707"/>
                  </a:lnTo>
                  <a:lnTo>
                    <a:pt x="95206" y="98426"/>
                  </a:lnTo>
                  <a:lnTo>
                    <a:pt x="97190" y="102471"/>
                  </a:lnTo>
                  <a:lnTo>
                    <a:pt x="95206" y="106516"/>
                  </a:lnTo>
                  <a:lnTo>
                    <a:pt x="95702" y="108539"/>
                  </a:lnTo>
                  <a:lnTo>
                    <a:pt x="92231" y="115280"/>
                  </a:lnTo>
                  <a:lnTo>
                    <a:pt x="95702" y="113258"/>
                  </a:lnTo>
                  <a:lnTo>
                    <a:pt x="98181" y="111910"/>
                  </a:lnTo>
                  <a:lnTo>
                    <a:pt x="101157" y="109213"/>
                  </a:lnTo>
                  <a:lnTo>
                    <a:pt x="102148" y="107865"/>
                  </a:lnTo>
                  <a:lnTo>
                    <a:pt x="105123" y="107191"/>
                  </a:lnTo>
                  <a:lnTo>
                    <a:pt x="107603" y="106516"/>
                  </a:lnTo>
                  <a:lnTo>
                    <a:pt x="108595" y="105168"/>
                  </a:lnTo>
                  <a:lnTo>
                    <a:pt x="111570" y="103146"/>
                  </a:lnTo>
                  <a:lnTo>
                    <a:pt x="114049" y="99101"/>
                  </a:lnTo>
                  <a:lnTo>
                    <a:pt x="111570" y="105842"/>
                  </a:lnTo>
                  <a:lnTo>
                    <a:pt x="114049" y="104494"/>
                  </a:lnTo>
                  <a:lnTo>
                    <a:pt x="115537" y="101797"/>
                  </a:lnTo>
                  <a:lnTo>
                    <a:pt x="117024" y="101123"/>
                  </a:lnTo>
                  <a:lnTo>
                    <a:pt x="119008" y="100449"/>
                  </a:lnTo>
                  <a:lnTo>
                    <a:pt x="120000" y="100449"/>
                  </a:lnTo>
                  <a:lnTo>
                    <a:pt x="115537" y="105842"/>
                  </a:lnTo>
                  <a:lnTo>
                    <a:pt x="111570" y="109887"/>
                  </a:lnTo>
                  <a:lnTo>
                    <a:pt x="108595" y="111910"/>
                  </a:lnTo>
                  <a:lnTo>
                    <a:pt x="106115" y="115280"/>
                  </a:lnTo>
                  <a:lnTo>
                    <a:pt x="102148" y="116629"/>
                  </a:lnTo>
                  <a:lnTo>
                    <a:pt x="97685" y="118651"/>
                  </a:lnTo>
                  <a:lnTo>
                    <a:pt x="93719" y="120000"/>
                  </a:lnTo>
                  <a:lnTo>
                    <a:pt x="91239" y="117977"/>
                  </a:lnTo>
                  <a:lnTo>
                    <a:pt x="90247" y="115280"/>
                  </a:lnTo>
                  <a:lnTo>
                    <a:pt x="90247" y="112584"/>
                  </a:lnTo>
                  <a:lnTo>
                    <a:pt x="89256" y="111235"/>
                  </a:lnTo>
                  <a:lnTo>
                    <a:pt x="82809" y="108539"/>
                  </a:lnTo>
                  <a:lnTo>
                    <a:pt x="76859" y="106516"/>
                  </a:lnTo>
                  <a:lnTo>
                    <a:pt x="77851" y="103146"/>
                  </a:lnTo>
                  <a:lnTo>
                    <a:pt x="76363" y="101797"/>
                  </a:lnTo>
                  <a:lnTo>
                    <a:pt x="74876" y="101797"/>
                  </a:lnTo>
                  <a:lnTo>
                    <a:pt x="73388" y="101123"/>
                  </a:lnTo>
                  <a:lnTo>
                    <a:pt x="71404" y="96404"/>
                  </a:lnTo>
                  <a:lnTo>
                    <a:pt x="69421" y="93033"/>
                  </a:lnTo>
                  <a:lnTo>
                    <a:pt x="65454" y="89662"/>
                  </a:lnTo>
                  <a:lnTo>
                    <a:pt x="991" y="105168"/>
                  </a:lnTo>
                  <a:lnTo>
                    <a:pt x="0" y="98426"/>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7" name="Shape 1404">
              <a:extLst>
                <a:ext uri="{FF2B5EF4-FFF2-40B4-BE49-F238E27FC236}">
                  <a16:creationId xmlns:a16="http://schemas.microsoft.com/office/drawing/2014/main" id="{2AC800D7-C6A8-9283-55F6-17DE45A19DEE}"/>
                </a:ext>
              </a:extLst>
            </p:cNvPr>
            <p:cNvSpPr/>
            <p:nvPr/>
          </p:nvSpPr>
          <p:spPr>
            <a:xfrm>
              <a:off x="7792485" y="1982680"/>
              <a:ext cx="94441" cy="170331"/>
            </a:xfrm>
            <a:custGeom>
              <a:avLst/>
              <a:gdLst/>
              <a:ahLst/>
              <a:cxnLst/>
              <a:rect l="0" t="0" r="0" b="0"/>
              <a:pathLst>
                <a:path w="120000" h="120000" extrusionOk="0">
                  <a:moveTo>
                    <a:pt x="0" y="27326"/>
                  </a:moveTo>
                  <a:lnTo>
                    <a:pt x="4285" y="33267"/>
                  </a:lnTo>
                  <a:lnTo>
                    <a:pt x="10714" y="41584"/>
                  </a:lnTo>
                  <a:lnTo>
                    <a:pt x="17142" y="42772"/>
                  </a:lnTo>
                  <a:lnTo>
                    <a:pt x="23571" y="52277"/>
                  </a:lnTo>
                  <a:lnTo>
                    <a:pt x="17142" y="54653"/>
                  </a:lnTo>
                  <a:lnTo>
                    <a:pt x="14999" y="62970"/>
                  </a:lnTo>
                  <a:lnTo>
                    <a:pt x="23571" y="71287"/>
                  </a:lnTo>
                  <a:lnTo>
                    <a:pt x="29999" y="80792"/>
                  </a:lnTo>
                  <a:lnTo>
                    <a:pt x="38571" y="84356"/>
                  </a:lnTo>
                  <a:lnTo>
                    <a:pt x="40714" y="97425"/>
                  </a:lnTo>
                  <a:lnTo>
                    <a:pt x="44999" y="108118"/>
                  </a:lnTo>
                  <a:lnTo>
                    <a:pt x="53571" y="118811"/>
                  </a:lnTo>
                  <a:lnTo>
                    <a:pt x="53571" y="120000"/>
                  </a:lnTo>
                  <a:lnTo>
                    <a:pt x="100714" y="116435"/>
                  </a:lnTo>
                  <a:lnTo>
                    <a:pt x="96428" y="108118"/>
                  </a:lnTo>
                  <a:lnTo>
                    <a:pt x="98571" y="97425"/>
                  </a:lnTo>
                  <a:lnTo>
                    <a:pt x="96428" y="84356"/>
                  </a:lnTo>
                  <a:lnTo>
                    <a:pt x="94285" y="71287"/>
                  </a:lnTo>
                  <a:lnTo>
                    <a:pt x="100714" y="53465"/>
                  </a:lnTo>
                  <a:lnTo>
                    <a:pt x="100714" y="38019"/>
                  </a:lnTo>
                  <a:lnTo>
                    <a:pt x="119999" y="29702"/>
                  </a:lnTo>
                  <a:lnTo>
                    <a:pt x="119999" y="24950"/>
                  </a:lnTo>
                  <a:lnTo>
                    <a:pt x="113571" y="20198"/>
                  </a:lnTo>
                  <a:lnTo>
                    <a:pt x="113571" y="14257"/>
                  </a:lnTo>
                  <a:lnTo>
                    <a:pt x="113571" y="4752"/>
                  </a:lnTo>
                  <a:lnTo>
                    <a:pt x="107142" y="0"/>
                  </a:lnTo>
                  <a:lnTo>
                    <a:pt x="92142" y="2376"/>
                  </a:lnTo>
                  <a:lnTo>
                    <a:pt x="77142" y="4752"/>
                  </a:lnTo>
                  <a:lnTo>
                    <a:pt x="47142" y="7128"/>
                  </a:lnTo>
                  <a:lnTo>
                    <a:pt x="32142" y="9504"/>
                  </a:lnTo>
                  <a:lnTo>
                    <a:pt x="10714" y="14257"/>
                  </a:lnTo>
                  <a:lnTo>
                    <a:pt x="0" y="14257"/>
                  </a:lnTo>
                  <a:lnTo>
                    <a:pt x="0" y="20198"/>
                  </a:lnTo>
                  <a:lnTo>
                    <a:pt x="0" y="27326"/>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8" name="Shape 1405">
              <a:extLst>
                <a:ext uri="{FF2B5EF4-FFF2-40B4-BE49-F238E27FC236}">
                  <a16:creationId xmlns:a16="http://schemas.microsoft.com/office/drawing/2014/main" id="{655B4B35-858D-F6A6-A60D-E82E585E5740}"/>
                </a:ext>
              </a:extLst>
            </p:cNvPr>
            <p:cNvSpPr/>
            <p:nvPr/>
          </p:nvSpPr>
          <p:spPr>
            <a:xfrm>
              <a:off x="7866689" y="1960756"/>
              <a:ext cx="84322" cy="187194"/>
            </a:xfrm>
            <a:custGeom>
              <a:avLst/>
              <a:gdLst/>
              <a:ahLst/>
              <a:cxnLst/>
              <a:rect l="0" t="0" r="0" b="0"/>
              <a:pathLst>
                <a:path w="120000" h="120000" extrusionOk="0">
                  <a:moveTo>
                    <a:pt x="43200" y="0"/>
                  </a:moveTo>
                  <a:lnTo>
                    <a:pt x="33600" y="1081"/>
                  </a:lnTo>
                  <a:lnTo>
                    <a:pt x="21600" y="1081"/>
                  </a:lnTo>
                  <a:lnTo>
                    <a:pt x="21600" y="6486"/>
                  </a:lnTo>
                  <a:lnTo>
                    <a:pt x="19200" y="9729"/>
                  </a:lnTo>
                  <a:lnTo>
                    <a:pt x="14400" y="14054"/>
                  </a:lnTo>
                  <a:lnTo>
                    <a:pt x="21600" y="18378"/>
                  </a:lnTo>
                  <a:lnTo>
                    <a:pt x="21600" y="27027"/>
                  </a:lnTo>
                  <a:lnTo>
                    <a:pt x="21600" y="32432"/>
                  </a:lnTo>
                  <a:lnTo>
                    <a:pt x="28800" y="36756"/>
                  </a:lnTo>
                  <a:lnTo>
                    <a:pt x="28800" y="41081"/>
                  </a:lnTo>
                  <a:lnTo>
                    <a:pt x="7200" y="48648"/>
                  </a:lnTo>
                  <a:lnTo>
                    <a:pt x="7200" y="62702"/>
                  </a:lnTo>
                  <a:lnTo>
                    <a:pt x="0" y="78918"/>
                  </a:lnTo>
                  <a:lnTo>
                    <a:pt x="2400" y="90810"/>
                  </a:lnTo>
                  <a:lnTo>
                    <a:pt x="4800" y="102702"/>
                  </a:lnTo>
                  <a:lnTo>
                    <a:pt x="2400" y="112432"/>
                  </a:lnTo>
                  <a:lnTo>
                    <a:pt x="7200" y="120000"/>
                  </a:lnTo>
                  <a:lnTo>
                    <a:pt x="96000" y="110270"/>
                  </a:lnTo>
                  <a:lnTo>
                    <a:pt x="98400" y="104864"/>
                  </a:lnTo>
                  <a:lnTo>
                    <a:pt x="117600" y="101621"/>
                  </a:lnTo>
                  <a:lnTo>
                    <a:pt x="115200" y="98378"/>
                  </a:lnTo>
                  <a:lnTo>
                    <a:pt x="120000" y="89729"/>
                  </a:lnTo>
                  <a:lnTo>
                    <a:pt x="120000" y="89729"/>
                  </a:lnTo>
                  <a:lnTo>
                    <a:pt x="98400" y="81081"/>
                  </a:lnTo>
                  <a:lnTo>
                    <a:pt x="43200" y="0"/>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29" name="Shape 1406">
              <a:extLst>
                <a:ext uri="{FF2B5EF4-FFF2-40B4-BE49-F238E27FC236}">
                  <a16:creationId xmlns:a16="http://schemas.microsoft.com/office/drawing/2014/main" id="{4C5AC742-BD0C-2596-6869-58C4BEA68F61}"/>
                </a:ext>
              </a:extLst>
            </p:cNvPr>
            <p:cNvSpPr/>
            <p:nvPr/>
          </p:nvSpPr>
          <p:spPr>
            <a:xfrm>
              <a:off x="7834647" y="2188425"/>
              <a:ext cx="94441" cy="86008"/>
            </a:xfrm>
            <a:custGeom>
              <a:avLst/>
              <a:gdLst/>
              <a:ahLst/>
              <a:cxnLst/>
              <a:rect l="0" t="0" r="0" b="0"/>
              <a:pathLst>
                <a:path w="120000" h="120000" extrusionOk="0">
                  <a:moveTo>
                    <a:pt x="8571" y="68235"/>
                  </a:moveTo>
                  <a:lnTo>
                    <a:pt x="8571" y="84705"/>
                  </a:lnTo>
                  <a:lnTo>
                    <a:pt x="17142" y="98823"/>
                  </a:lnTo>
                  <a:lnTo>
                    <a:pt x="8571" y="112941"/>
                  </a:lnTo>
                  <a:lnTo>
                    <a:pt x="10714" y="120000"/>
                  </a:lnTo>
                  <a:lnTo>
                    <a:pt x="19285" y="117647"/>
                  </a:lnTo>
                  <a:lnTo>
                    <a:pt x="27857" y="105882"/>
                  </a:lnTo>
                  <a:lnTo>
                    <a:pt x="32142" y="103529"/>
                  </a:lnTo>
                  <a:lnTo>
                    <a:pt x="42857" y="91764"/>
                  </a:lnTo>
                  <a:lnTo>
                    <a:pt x="53571" y="84705"/>
                  </a:lnTo>
                  <a:lnTo>
                    <a:pt x="70714" y="84705"/>
                  </a:lnTo>
                  <a:lnTo>
                    <a:pt x="79285" y="80000"/>
                  </a:lnTo>
                  <a:lnTo>
                    <a:pt x="83571" y="75294"/>
                  </a:lnTo>
                  <a:lnTo>
                    <a:pt x="94285" y="70588"/>
                  </a:lnTo>
                  <a:lnTo>
                    <a:pt x="104999" y="65882"/>
                  </a:lnTo>
                  <a:lnTo>
                    <a:pt x="117857" y="65882"/>
                  </a:lnTo>
                  <a:lnTo>
                    <a:pt x="119999" y="61176"/>
                  </a:lnTo>
                  <a:lnTo>
                    <a:pt x="107142" y="0"/>
                  </a:lnTo>
                  <a:lnTo>
                    <a:pt x="51428" y="11764"/>
                  </a:lnTo>
                  <a:lnTo>
                    <a:pt x="0" y="21176"/>
                  </a:lnTo>
                  <a:lnTo>
                    <a:pt x="0" y="23529"/>
                  </a:lnTo>
                  <a:lnTo>
                    <a:pt x="8571" y="68235"/>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0" name="Shape 1407">
              <a:extLst>
                <a:ext uri="{FF2B5EF4-FFF2-40B4-BE49-F238E27FC236}">
                  <a16:creationId xmlns:a16="http://schemas.microsoft.com/office/drawing/2014/main" id="{7EC83206-24F7-5199-2473-FF055CCC812D}"/>
                </a:ext>
              </a:extLst>
            </p:cNvPr>
            <p:cNvSpPr/>
            <p:nvPr/>
          </p:nvSpPr>
          <p:spPr>
            <a:xfrm>
              <a:off x="7918970" y="2179992"/>
              <a:ext cx="40475" cy="52279"/>
            </a:xfrm>
            <a:custGeom>
              <a:avLst/>
              <a:gdLst/>
              <a:ahLst/>
              <a:cxnLst/>
              <a:rect l="0" t="0" r="0" b="0"/>
              <a:pathLst>
                <a:path w="120000" h="120000" extrusionOk="0">
                  <a:moveTo>
                    <a:pt x="115000" y="58064"/>
                  </a:moveTo>
                  <a:lnTo>
                    <a:pt x="105000" y="50322"/>
                  </a:lnTo>
                  <a:lnTo>
                    <a:pt x="105000" y="46451"/>
                  </a:lnTo>
                  <a:lnTo>
                    <a:pt x="90000" y="42580"/>
                  </a:lnTo>
                  <a:lnTo>
                    <a:pt x="80000" y="38709"/>
                  </a:lnTo>
                  <a:lnTo>
                    <a:pt x="80000" y="27096"/>
                  </a:lnTo>
                  <a:lnTo>
                    <a:pt x="65000" y="19354"/>
                  </a:lnTo>
                  <a:lnTo>
                    <a:pt x="50000" y="0"/>
                  </a:lnTo>
                  <a:lnTo>
                    <a:pt x="0" y="19354"/>
                  </a:lnTo>
                  <a:lnTo>
                    <a:pt x="30000" y="120000"/>
                  </a:lnTo>
                  <a:lnTo>
                    <a:pt x="40000" y="112258"/>
                  </a:lnTo>
                  <a:lnTo>
                    <a:pt x="50000" y="108387"/>
                  </a:lnTo>
                  <a:lnTo>
                    <a:pt x="70000" y="100645"/>
                  </a:lnTo>
                  <a:lnTo>
                    <a:pt x="70000" y="89032"/>
                  </a:lnTo>
                  <a:lnTo>
                    <a:pt x="70000" y="85161"/>
                  </a:lnTo>
                  <a:lnTo>
                    <a:pt x="70000" y="77419"/>
                  </a:lnTo>
                  <a:lnTo>
                    <a:pt x="70000" y="65806"/>
                  </a:lnTo>
                  <a:lnTo>
                    <a:pt x="70000" y="58064"/>
                  </a:lnTo>
                  <a:lnTo>
                    <a:pt x="70000" y="54193"/>
                  </a:lnTo>
                  <a:lnTo>
                    <a:pt x="75000" y="50322"/>
                  </a:lnTo>
                  <a:lnTo>
                    <a:pt x="80000" y="50322"/>
                  </a:lnTo>
                  <a:lnTo>
                    <a:pt x="95000" y="54193"/>
                  </a:lnTo>
                  <a:lnTo>
                    <a:pt x="95000" y="61935"/>
                  </a:lnTo>
                  <a:lnTo>
                    <a:pt x="105000" y="77419"/>
                  </a:lnTo>
                  <a:lnTo>
                    <a:pt x="105000" y="81290"/>
                  </a:lnTo>
                  <a:lnTo>
                    <a:pt x="110000" y="85161"/>
                  </a:lnTo>
                  <a:lnTo>
                    <a:pt x="120000" y="81290"/>
                  </a:lnTo>
                  <a:lnTo>
                    <a:pt x="120000" y="77419"/>
                  </a:lnTo>
                  <a:lnTo>
                    <a:pt x="120000" y="73548"/>
                  </a:lnTo>
                  <a:lnTo>
                    <a:pt x="115000" y="58064"/>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1" name="Shape 1408">
              <a:extLst>
                <a:ext uri="{FF2B5EF4-FFF2-40B4-BE49-F238E27FC236}">
                  <a16:creationId xmlns:a16="http://schemas.microsoft.com/office/drawing/2014/main" id="{39D31B98-4DA8-6F42-8DC3-D88E2DA83E83}"/>
                </a:ext>
              </a:extLst>
            </p:cNvPr>
            <p:cNvSpPr/>
            <p:nvPr/>
          </p:nvSpPr>
          <p:spPr>
            <a:xfrm>
              <a:off x="7834647" y="2119281"/>
              <a:ext cx="183821" cy="92755"/>
            </a:xfrm>
            <a:custGeom>
              <a:avLst/>
              <a:gdLst/>
              <a:ahLst/>
              <a:cxnLst/>
              <a:rect l="0" t="0" r="0" b="0"/>
              <a:pathLst>
                <a:path w="120000" h="120000" extrusionOk="0">
                  <a:moveTo>
                    <a:pt x="117798" y="76363"/>
                  </a:moveTo>
                  <a:lnTo>
                    <a:pt x="115596" y="69818"/>
                  </a:lnTo>
                  <a:lnTo>
                    <a:pt x="114495" y="67636"/>
                  </a:lnTo>
                  <a:lnTo>
                    <a:pt x="111192" y="63272"/>
                  </a:lnTo>
                  <a:lnTo>
                    <a:pt x="107889" y="58909"/>
                  </a:lnTo>
                  <a:lnTo>
                    <a:pt x="106788" y="54545"/>
                  </a:lnTo>
                  <a:lnTo>
                    <a:pt x="105688" y="58909"/>
                  </a:lnTo>
                  <a:lnTo>
                    <a:pt x="106788" y="63272"/>
                  </a:lnTo>
                  <a:lnTo>
                    <a:pt x="110091" y="69818"/>
                  </a:lnTo>
                  <a:lnTo>
                    <a:pt x="112293" y="76363"/>
                  </a:lnTo>
                  <a:lnTo>
                    <a:pt x="108990" y="78545"/>
                  </a:lnTo>
                  <a:lnTo>
                    <a:pt x="104587" y="78545"/>
                  </a:lnTo>
                  <a:lnTo>
                    <a:pt x="97981" y="85090"/>
                  </a:lnTo>
                  <a:lnTo>
                    <a:pt x="96880" y="80727"/>
                  </a:lnTo>
                  <a:lnTo>
                    <a:pt x="95779" y="78545"/>
                  </a:lnTo>
                  <a:lnTo>
                    <a:pt x="93577" y="76363"/>
                  </a:lnTo>
                  <a:lnTo>
                    <a:pt x="90275" y="72000"/>
                  </a:lnTo>
                  <a:lnTo>
                    <a:pt x="89174" y="69818"/>
                  </a:lnTo>
                  <a:lnTo>
                    <a:pt x="90275" y="65454"/>
                  </a:lnTo>
                  <a:lnTo>
                    <a:pt x="89174" y="58909"/>
                  </a:lnTo>
                  <a:lnTo>
                    <a:pt x="84770" y="52363"/>
                  </a:lnTo>
                  <a:lnTo>
                    <a:pt x="80366" y="48000"/>
                  </a:lnTo>
                  <a:lnTo>
                    <a:pt x="78165" y="48000"/>
                  </a:lnTo>
                  <a:lnTo>
                    <a:pt x="75963" y="48000"/>
                  </a:lnTo>
                  <a:lnTo>
                    <a:pt x="74862" y="43636"/>
                  </a:lnTo>
                  <a:lnTo>
                    <a:pt x="74862" y="34909"/>
                  </a:lnTo>
                  <a:lnTo>
                    <a:pt x="77064" y="30545"/>
                  </a:lnTo>
                  <a:lnTo>
                    <a:pt x="78165" y="28363"/>
                  </a:lnTo>
                  <a:lnTo>
                    <a:pt x="80366" y="24000"/>
                  </a:lnTo>
                  <a:lnTo>
                    <a:pt x="84770" y="19636"/>
                  </a:lnTo>
                  <a:lnTo>
                    <a:pt x="84770" y="17454"/>
                  </a:lnTo>
                  <a:lnTo>
                    <a:pt x="83669" y="13090"/>
                  </a:lnTo>
                  <a:lnTo>
                    <a:pt x="80366" y="13090"/>
                  </a:lnTo>
                  <a:lnTo>
                    <a:pt x="78165" y="13090"/>
                  </a:lnTo>
                  <a:lnTo>
                    <a:pt x="77064" y="6545"/>
                  </a:lnTo>
                  <a:lnTo>
                    <a:pt x="74862" y="0"/>
                  </a:lnTo>
                  <a:lnTo>
                    <a:pt x="66055" y="6545"/>
                  </a:lnTo>
                  <a:lnTo>
                    <a:pt x="64954" y="17454"/>
                  </a:lnTo>
                  <a:lnTo>
                    <a:pt x="24220" y="37090"/>
                  </a:lnTo>
                  <a:lnTo>
                    <a:pt x="0" y="43636"/>
                  </a:lnTo>
                  <a:lnTo>
                    <a:pt x="0" y="72000"/>
                  </a:lnTo>
                  <a:lnTo>
                    <a:pt x="0" y="109090"/>
                  </a:lnTo>
                  <a:lnTo>
                    <a:pt x="26422" y="100363"/>
                  </a:lnTo>
                  <a:lnTo>
                    <a:pt x="55045" y="89454"/>
                  </a:lnTo>
                  <a:lnTo>
                    <a:pt x="66055" y="78545"/>
                  </a:lnTo>
                  <a:lnTo>
                    <a:pt x="69357" y="89454"/>
                  </a:lnTo>
                  <a:lnTo>
                    <a:pt x="72660" y="93818"/>
                  </a:lnTo>
                  <a:lnTo>
                    <a:pt x="72660" y="100363"/>
                  </a:lnTo>
                  <a:lnTo>
                    <a:pt x="74862" y="102545"/>
                  </a:lnTo>
                  <a:lnTo>
                    <a:pt x="78165" y="104727"/>
                  </a:lnTo>
                  <a:lnTo>
                    <a:pt x="78165" y="106909"/>
                  </a:lnTo>
                  <a:lnTo>
                    <a:pt x="80366" y="111272"/>
                  </a:lnTo>
                  <a:lnTo>
                    <a:pt x="81467" y="120000"/>
                  </a:lnTo>
                  <a:lnTo>
                    <a:pt x="81467" y="120000"/>
                  </a:lnTo>
                  <a:lnTo>
                    <a:pt x="83669" y="120000"/>
                  </a:lnTo>
                  <a:lnTo>
                    <a:pt x="84770" y="120000"/>
                  </a:lnTo>
                  <a:lnTo>
                    <a:pt x="86972" y="115636"/>
                  </a:lnTo>
                  <a:lnTo>
                    <a:pt x="86972" y="106909"/>
                  </a:lnTo>
                  <a:lnTo>
                    <a:pt x="90275" y="102545"/>
                  </a:lnTo>
                  <a:lnTo>
                    <a:pt x="90275" y="98181"/>
                  </a:lnTo>
                  <a:lnTo>
                    <a:pt x="93577" y="93818"/>
                  </a:lnTo>
                  <a:lnTo>
                    <a:pt x="94678" y="100363"/>
                  </a:lnTo>
                  <a:lnTo>
                    <a:pt x="95779" y="106909"/>
                  </a:lnTo>
                  <a:lnTo>
                    <a:pt x="95779" y="111272"/>
                  </a:lnTo>
                  <a:lnTo>
                    <a:pt x="99082" y="106909"/>
                  </a:lnTo>
                  <a:lnTo>
                    <a:pt x="101284" y="102545"/>
                  </a:lnTo>
                  <a:lnTo>
                    <a:pt x="101284" y="98181"/>
                  </a:lnTo>
                  <a:lnTo>
                    <a:pt x="103486" y="98181"/>
                  </a:lnTo>
                  <a:lnTo>
                    <a:pt x="106788" y="93818"/>
                  </a:lnTo>
                  <a:lnTo>
                    <a:pt x="111192" y="93818"/>
                  </a:lnTo>
                  <a:lnTo>
                    <a:pt x="113394" y="89454"/>
                  </a:lnTo>
                  <a:lnTo>
                    <a:pt x="116697" y="87272"/>
                  </a:lnTo>
                  <a:lnTo>
                    <a:pt x="118899" y="82909"/>
                  </a:lnTo>
                  <a:lnTo>
                    <a:pt x="120000" y="78545"/>
                  </a:lnTo>
                  <a:lnTo>
                    <a:pt x="117798" y="76363"/>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2" name="Shape 1409">
              <a:extLst>
                <a:ext uri="{FF2B5EF4-FFF2-40B4-BE49-F238E27FC236}">
                  <a16:creationId xmlns:a16="http://schemas.microsoft.com/office/drawing/2014/main" id="{A16A7221-38C8-A4A2-82AD-CE7C8D48E5F9}"/>
                </a:ext>
              </a:extLst>
            </p:cNvPr>
            <p:cNvSpPr/>
            <p:nvPr/>
          </p:nvSpPr>
          <p:spPr>
            <a:xfrm>
              <a:off x="7976309" y="2205290"/>
              <a:ext cx="16863" cy="11806"/>
            </a:xfrm>
            <a:custGeom>
              <a:avLst/>
              <a:gdLst/>
              <a:ahLst/>
              <a:cxnLst/>
              <a:rect l="0" t="0" r="0" b="0"/>
              <a:pathLst>
                <a:path w="120000" h="120000" extrusionOk="0">
                  <a:moveTo>
                    <a:pt x="30000" y="120000"/>
                  </a:moveTo>
                  <a:cubicBezTo>
                    <a:pt x="70000" y="120000"/>
                    <a:pt x="70000" y="120000"/>
                    <a:pt x="70000" y="120000"/>
                  </a:cubicBezTo>
                  <a:cubicBezTo>
                    <a:pt x="100000" y="80000"/>
                    <a:pt x="100000" y="80000"/>
                    <a:pt x="100000" y="80000"/>
                  </a:cubicBezTo>
                  <a:cubicBezTo>
                    <a:pt x="120000" y="53333"/>
                    <a:pt x="120000" y="53333"/>
                    <a:pt x="120000" y="53333"/>
                  </a:cubicBezTo>
                  <a:cubicBezTo>
                    <a:pt x="80000" y="26666"/>
                    <a:pt x="80000" y="26666"/>
                    <a:pt x="80000" y="26666"/>
                  </a:cubicBezTo>
                  <a:cubicBezTo>
                    <a:pt x="80000" y="26666"/>
                    <a:pt x="50000" y="0"/>
                    <a:pt x="40000" y="13333"/>
                  </a:cubicBezTo>
                  <a:cubicBezTo>
                    <a:pt x="40000" y="26666"/>
                    <a:pt x="0" y="93333"/>
                    <a:pt x="0" y="93333"/>
                  </a:cubicBezTo>
                  <a:lnTo>
                    <a:pt x="30000" y="12000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3" name="Shape 1410">
              <a:extLst>
                <a:ext uri="{FF2B5EF4-FFF2-40B4-BE49-F238E27FC236}">
                  <a16:creationId xmlns:a16="http://schemas.microsoft.com/office/drawing/2014/main" id="{53E57360-6ACB-D11B-DBAA-C8C99461BD11}"/>
                </a:ext>
              </a:extLst>
            </p:cNvPr>
            <p:cNvSpPr/>
            <p:nvPr/>
          </p:nvSpPr>
          <p:spPr>
            <a:xfrm>
              <a:off x="7763817" y="2269375"/>
              <a:ext cx="70829" cy="158525"/>
            </a:xfrm>
            <a:custGeom>
              <a:avLst/>
              <a:gdLst/>
              <a:ahLst/>
              <a:cxnLst/>
              <a:rect l="0" t="0" r="0" b="0"/>
              <a:pathLst>
                <a:path w="120000" h="120000" extrusionOk="0">
                  <a:moveTo>
                    <a:pt x="102857" y="16595"/>
                  </a:moveTo>
                  <a:lnTo>
                    <a:pt x="102857" y="11489"/>
                  </a:lnTo>
                  <a:lnTo>
                    <a:pt x="97142" y="8936"/>
                  </a:lnTo>
                  <a:lnTo>
                    <a:pt x="60000" y="3829"/>
                  </a:lnTo>
                  <a:lnTo>
                    <a:pt x="25714" y="0"/>
                  </a:lnTo>
                  <a:lnTo>
                    <a:pt x="22857" y="3829"/>
                  </a:lnTo>
                  <a:lnTo>
                    <a:pt x="17142" y="8936"/>
                  </a:lnTo>
                  <a:lnTo>
                    <a:pt x="8571" y="11489"/>
                  </a:lnTo>
                  <a:lnTo>
                    <a:pt x="5714" y="17872"/>
                  </a:lnTo>
                  <a:lnTo>
                    <a:pt x="8571" y="25531"/>
                  </a:lnTo>
                  <a:lnTo>
                    <a:pt x="8571" y="31914"/>
                  </a:lnTo>
                  <a:lnTo>
                    <a:pt x="5714" y="38297"/>
                  </a:lnTo>
                  <a:lnTo>
                    <a:pt x="14285" y="40851"/>
                  </a:lnTo>
                  <a:lnTo>
                    <a:pt x="25714" y="43404"/>
                  </a:lnTo>
                  <a:lnTo>
                    <a:pt x="31428" y="48510"/>
                  </a:lnTo>
                  <a:lnTo>
                    <a:pt x="42857" y="53617"/>
                  </a:lnTo>
                  <a:lnTo>
                    <a:pt x="57142" y="58723"/>
                  </a:lnTo>
                  <a:lnTo>
                    <a:pt x="57142" y="60000"/>
                  </a:lnTo>
                  <a:lnTo>
                    <a:pt x="51428" y="67659"/>
                  </a:lnTo>
                  <a:lnTo>
                    <a:pt x="28571" y="74042"/>
                  </a:lnTo>
                  <a:lnTo>
                    <a:pt x="8571" y="81702"/>
                  </a:lnTo>
                  <a:lnTo>
                    <a:pt x="5714" y="85531"/>
                  </a:lnTo>
                  <a:lnTo>
                    <a:pt x="0" y="91914"/>
                  </a:lnTo>
                  <a:lnTo>
                    <a:pt x="2857" y="95744"/>
                  </a:lnTo>
                  <a:lnTo>
                    <a:pt x="8571" y="100851"/>
                  </a:lnTo>
                  <a:lnTo>
                    <a:pt x="22857" y="105957"/>
                  </a:lnTo>
                  <a:lnTo>
                    <a:pt x="34285" y="108510"/>
                  </a:lnTo>
                  <a:lnTo>
                    <a:pt x="42857" y="109787"/>
                  </a:lnTo>
                  <a:lnTo>
                    <a:pt x="57142" y="109787"/>
                  </a:lnTo>
                  <a:lnTo>
                    <a:pt x="68571" y="109787"/>
                  </a:lnTo>
                  <a:lnTo>
                    <a:pt x="71428" y="109787"/>
                  </a:lnTo>
                  <a:lnTo>
                    <a:pt x="68571" y="114893"/>
                  </a:lnTo>
                  <a:lnTo>
                    <a:pt x="68571" y="118723"/>
                  </a:lnTo>
                  <a:lnTo>
                    <a:pt x="71428" y="120000"/>
                  </a:lnTo>
                  <a:lnTo>
                    <a:pt x="74285" y="120000"/>
                  </a:lnTo>
                  <a:lnTo>
                    <a:pt x="77142" y="111063"/>
                  </a:lnTo>
                  <a:lnTo>
                    <a:pt x="80000" y="109787"/>
                  </a:lnTo>
                  <a:lnTo>
                    <a:pt x="88571" y="104680"/>
                  </a:lnTo>
                  <a:lnTo>
                    <a:pt x="102857" y="99574"/>
                  </a:lnTo>
                  <a:lnTo>
                    <a:pt x="102857" y="88085"/>
                  </a:lnTo>
                  <a:lnTo>
                    <a:pt x="102857" y="82978"/>
                  </a:lnTo>
                  <a:lnTo>
                    <a:pt x="114285" y="77872"/>
                  </a:lnTo>
                  <a:lnTo>
                    <a:pt x="117142" y="67659"/>
                  </a:lnTo>
                  <a:lnTo>
                    <a:pt x="120000" y="61276"/>
                  </a:lnTo>
                  <a:lnTo>
                    <a:pt x="120000" y="51063"/>
                  </a:lnTo>
                  <a:lnTo>
                    <a:pt x="120000" y="45957"/>
                  </a:lnTo>
                  <a:lnTo>
                    <a:pt x="114285" y="38297"/>
                  </a:lnTo>
                  <a:lnTo>
                    <a:pt x="102857" y="38297"/>
                  </a:lnTo>
                  <a:lnTo>
                    <a:pt x="97142" y="38297"/>
                  </a:lnTo>
                  <a:lnTo>
                    <a:pt x="100000" y="31914"/>
                  </a:lnTo>
                  <a:lnTo>
                    <a:pt x="105714" y="25531"/>
                  </a:lnTo>
                  <a:lnTo>
                    <a:pt x="111428" y="22978"/>
                  </a:lnTo>
                  <a:lnTo>
                    <a:pt x="108571" y="21702"/>
                  </a:lnTo>
                  <a:lnTo>
                    <a:pt x="102857" y="16595"/>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4" name="Shape 1411">
              <a:extLst>
                <a:ext uri="{FF2B5EF4-FFF2-40B4-BE49-F238E27FC236}">
                  <a16:creationId xmlns:a16="http://schemas.microsoft.com/office/drawing/2014/main" id="{D5C92B6B-012C-162F-1184-CFAF30279DE1}"/>
                </a:ext>
              </a:extLst>
            </p:cNvPr>
            <p:cNvSpPr/>
            <p:nvPr/>
          </p:nvSpPr>
          <p:spPr>
            <a:xfrm>
              <a:off x="7750325" y="2378993"/>
              <a:ext cx="55651" cy="91067"/>
            </a:xfrm>
            <a:custGeom>
              <a:avLst/>
              <a:gdLst/>
              <a:ahLst/>
              <a:cxnLst/>
              <a:rect l="0" t="0" r="0" b="0"/>
              <a:pathLst>
                <a:path w="120000" h="120000" extrusionOk="0">
                  <a:moveTo>
                    <a:pt x="32727" y="22222"/>
                  </a:moveTo>
                  <a:lnTo>
                    <a:pt x="29090" y="15555"/>
                  </a:lnTo>
                  <a:lnTo>
                    <a:pt x="36363" y="4444"/>
                  </a:lnTo>
                  <a:lnTo>
                    <a:pt x="40000" y="2222"/>
                  </a:lnTo>
                  <a:lnTo>
                    <a:pt x="32727" y="0"/>
                  </a:lnTo>
                  <a:lnTo>
                    <a:pt x="21818" y="0"/>
                  </a:lnTo>
                  <a:lnTo>
                    <a:pt x="18181" y="0"/>
                  </a:lnTo>
                  <a:lnTo>
                    <a:pt x="7272" y="4444"/>
                  </a:lnTo>
                  <a:lnTo>
                    <a:pt x="0" y="11111"/>
                  </a:lnTo>
                  <a:lnTo>
                    <a:pt x="43636" y="120000"/>
                  </a:lnTo>
                  <a:lnTo>
                    <a:pt x="120000" y="113333"/>
                  </a:lnTo>
                  <a:lnTo>
                    <a:pt x="116363" y="95555"/>
                  </a:lnTo>
                  <a:lnTo>
                    <a:pt x="105454" y="88888"/>
                  </a:lnTo>
                  <a:lnTo>
                    <a:pt x="101818" y="84444"/>
                  </a:lnTo>
                  <a:lnTo>
                    <a:pt x="94545" y="82222"/>
                  </a:lnTo>
                  <a:lnTo>
                    <a:pt x="83636" y="75555"/>
                  </a:lnTo>
                  <a:lnTo>
                    <a:pt x="72727" y="71111"/>
                  </a:lnTo>
                  <a:lnTo>
                    <a:pt x="65454" y="62222"/>
                  </a:lnTo>
                  <a:lnTo>
                    <a:pt x="58181" y="53333"/>
                  </a:lnTo>
                  <a:lnTo>
                    <a:pt x="50909" y="44444"/>
                  </a:lnTo>
                  <a:lnTo>
                    <a:pt x="58181" y="37777"/>
                  </a:lnTo>
                  <a:lnTo>
                    <a:pt x="40000" y="31111"/>
                  </a:lnTo>
                  <a:lnTo>
                    <a:pt x="32727" y="22222"/>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5" name="Shape 1412">
              <a:extLst>
                <a:ext uri="{FF2B5EF4-FFF2-40B4-BE49-F238E27FC236}">
                  <a16:creationId xmlns:a16="http://schemas.microsoft.com/office/drawing/2014/main" id="{DE37106D-69FB-45AF-15D6-95CE2B1F52F2}"/>
                </a:ext>
              </a:extLst>
            </p:cNvPr>
            <p:cNvSpPr/>
            <p:nvPr/>
          </p:nvSpPr>
          <p:spPr>
            <a:xfrm>
              <a:off x="7480495" y="2227213"/>
              <a:ext cx="317051" cy="205745"/>
            </a:xfrm>
            <a:custGeom>
              <a:avLst/>
              <a:gdLst/>
              <a:ahLst/>
              <a:cxnLst/>
              <a:rect l="0" t="0" r="0" b="0"/>
              <a:pathLst>
                <a:path w="120000" h="120000" extrusionOk="0">
                  <a:moveTo>
                    <a:pt x="105319" y="88524"/>
                  </a:moveTo>
                  <a:lnTo>
                    <a:pt x="105957" y="88524"/>
                  </a:lnTo>
                  <a:lnTo>
                    <a:pt x="107872" y="88524"/>
                  </a:lnTo>
                  <a:lnTo>
                    <a:pt x="109148" y="89508"/>
                  </a:lnTo>
                  <a:lnTo>
                    <a:pt x="109148" y="87540"/>
                  </a:lnTo>
                  <a:lnTo>
                    <a:pt x="113617" y="81639"/>
                  </a:lnTo>
                  <a:lnTo>
                    <a:pt x="118723" y="76721"/>
                  </a:lnTo>
                  <a:lnTo>
                    <a:pt x="120000" y="70819"/>
                  </a:lnTo>
                  <a:lnTo>
                    <a:pt x="120000" y="69836"/>
                  </a:lnTo>
                  <a:lnTo>
                    <a:pt x="116808" y="65901"/>
                  </a:lnTo>
                  <a:lnTo>
                    <a:pt x="114255" y="61967"/>
                  </a:lnTo>
                  <a:lnTo>
                    <a:pt x="112978" y="58032"/>
                  </a:lnTo>
                  <a:lnTo>
                    <a:pt x="110425" y="56065"/>
                  </a:lnTo>
                  <a:lnTo>
                    <a:pt x="108510" y="54098"/>
                  </a:lnTo>
                  <a:lnTo>
                    <a:pt x="109148" y="49180"/>
                  </a:lnTo>
                  <a:lnTo>
                    <a:pt x="109148" y="44262"/>
                  </a:lnTo>
                  <a:lnTo>
                    <a:pt x="108510" y="38360"/>
                  </a:lnTo>
                  <a:lnTo>
                    <a:pt x="109148" y="33442"/>
                  </a:lnTo>
                  <a:lnTo>
                    <a:pt x="111063" y="31475"/>
                  </a:lnTo>
                  <a:lnTo>
                    <a:pt x="112340" y="27540"/>
                  </a:lnTo>
                  <a:lnTo>
                    <a:pt x="112978" y="24590"/>
                  </a:lnTo>
                  <a:lnTo>
                    <a:pt x="114255" y="19672"/>
                  </a:lnTo>
                  <a:lnTo>
                    <a:pt x="112340" y="17704"/>
                  </a:lnTo>
                  <a:lnTo>
                    <a:pt x="110425" y="17704"/>
                  </a:lnTo>
                  <a:lnTo>
                    <a:pt x="108510" y="16721"/>
                  </a:lnTo>
                  <a:lnTo>
                    <a:pt x="105957" y="9836"/>
                  </a:lnTo>
                  <a:lnTo>
                    <a:pt x="103404" y="4918"/>
                  </a:lnTo>
                  <a:lnTo>
                    <a:pt x="98297" y="0"/>
                  </a:lnTo>
                  <a:lnTo>
                    <a:pt x="15319" y="22622"/>
                  </a:lnTo>
                  <a:lnTo>
                    <a:pt x="14042" y="12786"/>
                  </a:lnTo>
                  <a:lnTo>
                    <a:pt x="10212" y="16721"/>
                  </a:lnTo>
                  <a:lnTo>
                    <a:pt x="7021" y="20655"/>
                  </a:lnTo>
                  <a:lnTo>
                    <a:pt x="3829" y="23606"/>
                  </a:lnTo>
                  <a:lnTo>
                    <a:pt x="0" y="27540"/>
                  </a:lnTo>
                  <a:lnTo>
                    <a:pt x="10212" y="120000"/>
                  </a:lnTo>
                  <a:lnTo>
                    <a:pt x="102127" y="93442"/>
                  </a:lnTo>
                  <a:lnTo>
                    <a:pt x="103404" y="90491"/>
                  </a:lnTo>
                  <a:lnTo>
                    <a:pt x="105319" y="88524"/>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6" name="Shape 1413">
              <a:extLst>
                <a:ext uri="{FF2B5EF4-FFF2-40B4-BE49-F238E27FC236}">
                  <a16:creationId xmlns:a16="http://schemas.microsoft.com/office/drawing/2014/main" id="{6D03FADE-6510-62EB-2B7A-7120062D6378}"/>
                </a:ext>
              </a:extLst>
            </p:cNvPr>
            <p:cNvSpPr/>
            <p:nvPr/>
          </p:nvSpPr>
          <p:spPr>
            <a:xfrm>
              <a:off x="7183681" y="3051884"/>
              <a:ext cx="490753" cy="384509"/>
            </a:xfrm>
            <a:custGeom>
              <a:avLst/>
              <a:gdLst/>
              <a:ahLst/>
              <a:cxnLst/>
              <a:rect l="0" t="0" r="0" b="0"/>
              <a:pathLst>
                <a:path w="120000" h="120000" extrusionOk="0">
                  <a:moveTo>
                    <a:pt x="80000" y="0"/>
                  </a:moveTo>
                  <a:lnTo>
                    <a:pt x="80000" y="0"/>
                  </a:lnTo>
                  <a:lnTo>
                    <a:pt x="82474" y="0"/>
                  </a:lnTo>
                  <a:lnTo>
                    <a:pt x="86185" y="1052"/>
                  </a:lnTo>
                  <a:lnTo>
                    <a:pt x="86597" y="3684"/>
                  </a:lnTo>
                  <a:lnTo>
                    <a:pt x="87010" y="5263"/>
                  </a:lnTo>
                  <a:lnTo>
                    <a:pt x="88659" y="6315"/>
                  </a:lnTo>
                  <a:lnTo>
                    <a:pt x="89896" y="8947"/>
                  </a:lnTo>
                  <a:lnTo>
                    <a:pt x="91958" y="15789"/>
                  </a:lnTo>
                  <a:lnTo>
                    <a:pt x="94432" y="21052"/>
                  </a:lnTo>
                  <a:lnTo>
                    <a:pt x="97731" y="28947"/>
                  </a:lnTo>
                  <a:lnTo>
                    <a:pt x="99381" y="32631"/>
                  </a:lnTo>
                  <a:lnTo>
                    <a:pt x="103505" y="40526"/>
                  </a:lnTo>
                  <a:lnTo>
                    <a:pt x="105567" y="42631"/>
                  </a:lnTo>
                  <a:lnTo>
                    <a:pt x="106804" y="44210"/>
                  </a:lnTo>
                  <a:lnTo>
                    <a:pt x="106804" y="45789"/>
                  </a:lnTo>
                  <a:lnTo>
                    <a:pt x="106804" y="50526"/>
                  </a:lnTo>
                  <a:lnTo>
                    <a:pt x="105567" y="45263"/>
                  </a:lnTo>
                  <a:lnTo>
                    <a:pt x="105154" y="50526"/>
                  </a:lnTo>
                  <a:lnTo>
                    <a:pt x="107628" y="55789"/>
                  </a:lnTo>
                  <a:lnTo>
                    <a:pt x="110515" y="61052"/>
                  </a:lnTo>
                  <a:lnTo>
                    <a:pt x="113402" y="67894"/>
                  </a:lnTo>
                  <a:lnTo>
                    <a:pt x="115463" y="72105"/>
                  </a:lnTo>
                  <a:lnTo>
                    <a:pt x="117938" y="75789"/>
                  </a:lnTo>
                  <a:lnTo>
                    <a:pt x="119175" y="80526"/>
                  </a:lnTo>
                  <a:lnTo>
                    <a:pt x="120000" y="88421"/>
                  </a:lnTo>
                  <a:lnTo>
                    <a:pt x="120000" y="92631"/>
                  </a:lnTo>
                  <a:lnTo>
                    <a:pt x="120000" y="97368"/>
                  </a:lnTo>
                  <a:lnTo>
                    <a:pt x="120000" y="101578"/>
                  </a:lnTo>
                  <a:lnTo>
                    <a:pt x="118762" y="103157"/>
                  </a:lnTo>
                  <a:lnTo>
                    <a:pt x="117938" y="105263"/>
                  </a:lnTo>
                  <a:lnTo>
                    <a:pt x="117938" y="107894"/>
                  </a:lnTo>
                  <a:lnTo>
                    <a:pt x="118350" y="111052"/>
                  </a:lnTo>
                  <a:lnTo>
                    <a:pt x="117938" y="114736"/>
                  </a:lnTo>
                  <a:lnTo>
                    <a:pt x="116701" y="118421"/>
                  </a:lnTo>
                  <a:lnTo>
                    <a:pt x="115463" y="119473"/>
                  </a:lnTo>
                  <a:lnTo>
                    <a:pt x="114226" y="119999"/>
                  </a:lnTo>
                  <a:lnTo>
                    <a:pt x="115051" y="117894"/>
                  </a:lnTo>
                  <a:lnTo>
                    <a:pt x="115876" y="116842"/>
                  </a:lnTo>
                  <a:lnTo>
                    <a:pt x="115876" y="114210"/>
                  </a:lnTo>
                  <a:lnTo>
                    <a:pt x="115463" y="114210"/>
                  </a:lnTo>
                  <a:lnTo>
                    <a:pt x="112989" y="116315"/>
                  </a:lnTo>
                  <a:lnTo>
                    <a:pt x="111340" y="116842"/>
                  </a:lnTo>
                  <a:lnTo>
                    <a:pt x="110103" y="116315"/>
                  </a:lnTo>
                  <a:lnTo>
                    <a:pt x="108865" y="116842"/>
                  </a:lnTo>
                  <a:lnTo>
                    <a:pt x="107628" y="117894"/>
                  </a:lnTo>
                  <a:lnTo>
                    <a:pt x="106804" y="117368"/>
                  </a:lnTo>
                  <a:lnTo>
                    <a:pt x="105154" y="116842"/>
                  </a:lnTo>
                  <a:lnTo>
                    <a:pt x="104329" y="115263"/>
                  </a:lnTo>
                  <a:lnTo>
                    <a:pt x="104742" y="114210"/>
                  </a:lnTo>
                  <a:lnTo>
                    <a:pt x="105154" y="114210"/>
                  </a:lnTo>
                  <a:lnTo>
                    <a:pt x="108041" y="114736"/>
                  </a:lnTo>
                  <a:lnTo>
                    <a:pt x="108865" y="114210"/>
                  </a:lnTo>
                  <a:lnTo>
                    <a:pt x="108453" y="113684"/>
                  </a:lnTo>
                  <a:lnTo>
                    <a:pt x="107216" y="112631"/>
                  </a:lnTo>
                  <a:lnTo>
                    <a:pt x="105567" y="113157"/>
                  </a:lnTo>
                  <a:lnTo>
                    <a:pt x="104329" y="111578"/>
                  </a:lnTo>
                  <a:lnTo>
                    <a:pt x="103092" y="108947"/>
                  </a:lnTo>
                  <a:lnTo>
                    <a:pt x="101443" y="106842"/>
                  </a:lnTo>
                  <a:lnTo>
                    <a:pt x="101030" y="105263"/>
                  </a:lnTo>
                  <a:lnTo>
                    <a:pt x="99793" y="103157"/>
                  </a:lnTo>
                  <a:lnTo>
                    <a:pt x="97731" y="102631"/>
                  </a:lnTo>
                  <a:lnTo>
                    <a:pt x="96082" y="101578"/>
                  </a:lnTo>
                  <a:lnTo>
                    <a:pt x="94432" y="101052"/>
                  </a:lnTo>
                  <a:lnTo>
                    <a:pt x="92783" y="95263"/>
                  </a:lnTo>
                  <a:lnTo>
                    <a:pt x="91958" y="93157"/>
                  </a:lnTo>
                  <a:lnTo>
                    <a:pt x="90721" y="91578"/>
                  </a:lnTo>
                  <a:lnTo>
                    <a:pt x="90309" y="90526"/>
                  </a:lnTo>
                  <a:lnTo>
                    <a:pt x="89072" y="88947"/>
                  </a:lnTo>
                  <a:lnTo>
                    <a:pt x="87835" y="87894"/>
                  </a:lnTo>
                  <a:lnTo>
                    <a:pt x="88247" y="85789"/>
                  </a:lnTo>
                  <a:lnTo>
                    <a:pt x="88659" y="84736"/>
                  </a:lnTo>
                  <a:lnTo>
                    <a:pt x="87422" y="81578"/>
                  </a:lnTo>
                  <a:lnTo>
                    <a:pt x="86185" y="82105"/>
                  </a:lnTo>
                  <a:lnTo>
                    <a:pt x="86185" y="83157"/>
                  </a:lnTo>
                  <a:lnTo>
                    <a:pt x="86185" y="85789"/>
                  </a:lnTo>
                  <a:lnTo>
                    <a:pt x="85360" y="85789"/>
                  </a:lnTo>
                  <a:lnTo>
                    <a:pt x="84536" y="84736"/>
                  </a:lnTo>
                  <a:lnTo>
                    <a:pt x="83298" y="83157"/>
                  </a:lnTo>
                  <a:lnTo>
                    <a:pt x="81237" y="78947"/>
                  </a:lnTo>
                  <a:lnTo>
                    <a:pt x="80000" y="77368"/>
                  </a:lnTo>
                  <a:lnTo>
                    <a:pt x="79587" y="76842"/>
                  </a:lnTo>
                  <a:lnTo>
                    <a:pt x="80000" y="75789"/>
                  </a:lnTo>
                  <a:lnTo>
                    <a:pt x="79175" y="73684"/>
                  </a:lnTo>
                  <a:lnTo>
                    <a:pt x="77938" y="73157"/>
                  </a:lnTo>
                  <a:lnTo>
                    <a:pt x="79175" y="70000"/>
                  </a:lnTo>
                  <a:lnTo>
                    <a:pt x="80000" y="68421"/>
                  </a:lnTo>
                  <a:lnTo>
                    <a:pt x="80412" y="66842"/>
                  </a:lnTo>
                  <a:lnTo>
                    <a:pt x="80824" y="65263"/>
                  </a:lnTo>
                  <a:lnTo>
                    <a:pt x="80000" y="63684"/>
                  </a:lnTo>
                  <a:lnTo>
                    <a:pt x="79587" y="65789"/>
                  </a:lnTo>
                  <a:lnTo>
                    <a:pt x="78762" y="65263"/>
                  </a:lnTo>
                  <a:lnTo>
                    <a:pt x="78762" y="64210"/>
                  </a:lnTo>
                  <a:lnTo>
                    <a:pt x="77525" y="62105"/>
                  </a:lnTo>
                  <a:lnTo>
                    <a:pt x="77113" y="62105"/>
                  </a:lnTo>
                  <a:lnTo>
                    <a:pt x="77113" y="62631"/>
                  </a:lnTo>
                  <a:lnTo>
                    <a:pt x="77525" y="63684"/>
                  </a:lnTo>
                  <a:lnTo>
                    <a:pt x="77938" y="65263"/>
                  </a:lnTo>
                  <a:lnTo>
                    <a:pt x="77938" y="66842"/>
                  </a:lnTo>
                  <a:lnTo>
                    <a:pt x="77938" y="67368"/>
                  </a:lnTo>
                  <a:lnTo>
                    <a:pt x="77113" y="68421"/>
                  </a:lnTo>
                  <a:lnTo>
                    <a:pt x="76701" y="67894"/>
                  </a:lnTo>
                  <a:lnTo>
                    <a:pt x="75876" y="66842"/>
                  </a:lnTo>
                  <a:lnTo>
                    <a:pt x="74639" y="64210"/>
                  </a:lnTo>
                  <a:lnTo>
                    <a:pt x="74226" y="63157"/>
                  </a:lnTo>
                  <a:lnTo>
                    <a:pt x="74226" y="61052"/>
                  </a:lnTo>
                  <a:lnTo>
                    <a:pt x="74226" y="57894"/>
                  </a:lnTo>
                  <a:lnTo>
                    <a:pt x="75051" y="55789"/>
                  </a:lnTo>
                  <a:lnTo>
                    <a:pt x="75463" y="51578"/>
                  </a:lnTo>
                  <a:lnTo>
                    <a:pt x="75463" y="48947"/>
                  </a:lnTo>
                  <a:lnTo>
                    <a:pt x="75051" y="45263"/>
                  </a:lnTo>
                  <a:lnTo>
                    <a:pt x="74226" y="41578"/>
                  </a:lnTo>
                  <a:lnTo>
                    <a:pt x="72989" y="40526"/>
                  </a:lnTo>
                  <a:lnTo>
                    <a:pt x="71752" y="37894"/>
                  </a:lnTo>
                  <a:lnTo>
                    <a:pt x="69278" y="37368"/>
                  </a:lnTo>
                  <a:lnTo>
                    <a:pt x="68041" y="37368"/>
                  </a:lnTo>
                  <a:lnTo>
                    <a:pt x="67216" y="35263"/>
                  </a:lnTo>
                  <a:lnTo>
                    <a:pt x="65979" y="34736"/>
                  </a:lnTo>
                  <a:lnTo>
                    <a:pt x="64329" y="32105"/>
                  </a:lnTo>
                  <a:lnTo>
                    <a:pt x="62680" y="31578"/>
                  </a:lnTo>
                  <a:lnTo>
                    <a:pt x="62268" y="28947"/>
                  </a:lnTo>
                  <a:lnTo>
                    <a:pt x="61443" y="27894"/>
                  </a:lnTo>
                  <a:lnTo>
                    <a:pt x="58969" y="25263"/>
                  </a:lnTo>
                  <a:lnTo>
                    <a:pt x="56907" y="23157"/>
                  </a:lnTo>
                  <a:lnTo>
                    <a:pt x="55257" y="22105"/>
                  </a:lnTo>
                  <a:lnTo>
                    <a:pt x="53608" y="20526"/>
                  </a:lnTo>
                  <a:lnTo>
                    <a:pt x="52371" y="20000"/>
                  </a:lnTo>
                  <a:lnTo>
                    <a:pt x="50309" y="20000"/>
                  </a:lnTo>
                  <a:lnTo>
                    <a:pt x="48247" y="20526"/>
                  </a:lnTo>
                  <a:lnTo>
                    <a:pt x="47835" y="22105"/>
                  </a:lnTo>
                  <a:lnTo>
                    <a:pt x="48247" y="23684"/>
                  </a:lnTo>
                  <a:lnTo>
                    <a:pt x="47835" y="24736"/>
                  </a:lnTo>
                  <a:lnTo>
                    <a:pt x="47010" y="24736"/>
                  </a:lnTo>
                  <a:lnTo>
                    <a:pt x="46185" y="23684"/>
                  </a:lnTo>
                  <a:lnTo>
                    <a:pt x="44123" y="25789"/>
                  </a:lnTo>
                  <a:lnTo>
                    <a:pt x="41649" y="28421"/>
                  </a:lnTo>
                  <a:lnTo>
                    <a:pt x="38762" y="29473"/>
                  </a:lnTo>
                  <a:lnTo>
                    <a:pt x="34226" y="31052"/>
                  </a:lnTo>
                  <a:lnTo>
                    <a:pt x="34226" y="27894"/>
                  </a:lnTo>
                  <a:lnTo>
                    <a:pt x="32989" y="26315"/>
                  </a:lnTo>
                  <a:lnTo>
                    <a:pt x="31752" y="25789"/>
                  </a:lnTo>
                  <a:lnTo>
                    <a:pt x="29690" y="24210"/>
                  </a:lnTo>
                  <a:lnTo>
                    <a:pt x="31340" y="23157"/>
                  </a:lnTo>
                  <a:lnTo>
                    <a:pt x="31752" y="22631"/>
                  </a:lnTo>
                  <a:lnTo>
                    <a:pt x="28865" y="22105"/>
                  </a:lnTo>
                  <a:lnTo>
                    <a:pt x="28865" y="20526"/>
                  </a:lnTo>
                  <a:lnTo>
                    <a:pt x="29690" y="20526"/>
                  </a:lnTo>
                  <a:lnTo>
                    <a:pt x="30103" y="19473"/>
                  </a:lnTo>
                  <a:lnTo>
                    <a:pt x="30103" y="18421"/>
                  </a:lnTo>
                  <a:lnTo>
                    <a:pt x="29690" y="18421"/>
                  </a:lnTo>
                  <a:lnTo>
                    <a:pt x="28865" y="18947"/>
                  </a:lnTo>
                  <a:lnTo>
                    <a:pt x="28865" y="19473"/>
                  </a:lnTo>
                  <a:lnTo>
                    <a:pt x="28453" y="20000"/>
                  </a:lnTo>
                  <a:lnTo>
                    <a:pt x="27628" y="18947"/>
                  </a:lnTo>
                  <a:lnTo>
                    <a:pt x="25567" y="18947"/>
                  </a:lnTo>
                  <a:lnTo>
                    <a:pt x="26391" y="20526"/>
                  </a:lnTo>
                  <a:lnTo>
                    <a:pt x="26804" y="20526"/>
                  </a:lnTo>
                  <a:lnTo>
                    <a:pt x="27216" y="22631"/>
                  </a:lnTo>
                  <a:lnTo>
                    <a:pt x="26804" y="22631"/>
                  </a:lnTo>
                  <a:lnTo>
                    <a:pt x="25154" y="21578"/>
                  </a:lnTo>
                  <a:lnTo>
                    <a:pt x="23505" y="20000"/>
                  </a:lnTo>
                  <a:lnTo>
                    <a:pt x="21855" y="19473"/>
                  </a:lnTo>
                  <a:lnTo>
                    <a:pt x="18144" y="19473"/>
                  </a:lnTo>
                  <a:lnTo>
                    <a:pt x="16907" y="18421"/>
                  </a:lnTo>
                  <a:lnTo>
                    <a:pt x="16082" y="17368"/>
                  </a:lnTo>
                  <a:lnTo>
                    <a:pt x="14845" y="17368"/>
                  </a:lnTo>
                  <a:lnTo>
                    <a:pt x="10721" y="18421"/>
                  </a:lnTo>
                  <a:lnTo>
                    <a:pt x="7835" y="18421"/>
                  </a:lnTo>
                  <a:lnTo>
                    <a:pt x="5773" y="20000"/>
                  </a:lnTo>
                  <a:lnTo>
                    <a:pt x="4536" y="20526"/>
                  </a:lnTo>
                  <a:lnTo>
                    <a:pt x="2886" y="16842"/>
                  </a:lnTo>
                  <a:lnTo>
                    <a:pt x="2474" y="14210"/>
                  </a:lnTo>
                  <a:lnTo>
                    <a:pt x="824" y="11578"/>
                  </a:lnTo>
                  <a:lnTo>
                    <a:pt x="0" y="10526"/>
                  </a:lnTo>
                  <a:lnTo>
                    <a:pt x="0" y="8947"/>
                  </a:lnTo>
                  <a:lnTo>
                    <a:pt x="1237" y="8421"/>
                  </a:lnTo>
                  <a:lnTo>
                    <a:pt x="4123" y="7368"/>
                  </a:lnTo>
                  <a:lnTo>
                    <a:pt x="7422" y="6315"/>
                  </a:lnTo>
                  <a:lnTo>
                    <a:pt x="38350" y="3157"/>
                  </a:lnTo>
                  <a:lnTo>
                    <a:pt x="40412" y="8421"/>
                  </a:lnTo>
                  <a:lnTo>
                    <a:pt x="77938" y="5789"/>
                  </a:lnTo>
                  <a:lnTo>
                    <a:pt x="78350" y="10000"/>
                  </a:lnTo>
                  <a:lnTo>
                    <a:pt x="81237" y="10000"/>
                  </a:lnTo>
                  <a:lnTo>
                    <a:pt x="80000" y="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7" name="Shape 1414">
              <a:extLst>
                <a:ext uri="{FF2B5EF4-FFF2-40B4-BE49-F238E27FC236}">
                  <a16:creationId xmlns:a16="http://schemas.microsoft.com/office/drawing/2014/main" id="{3B46D549-E4B0-92B3-B75A-95BFFE2FEF45}"/>
                </a:ext>
              </a:extLst>
            </p:cNvPr>
            <p:cNvSpPr/>
            <p:nvPr/>
          </p:nvSpPr>
          <p:spPr>
            <a:xfrm>
              <a:off x="6802545" y="2950697"/>
              <a:ext cx="306933" cy="271518"/>
            </a:xfrm>
            <a:custGeom>
              <a:avLst/>
              <a:gdLst/>
              <a:ahLst/>
              <a:cxnLst/>
              <a:rect l="0" t="0" r="0" b="0"/>
              <a:pathLst>
                <a:path w="120000" h="120000" extrusionOk="0">
                  <a:moveTo>
                    <a:pt x="119340" y="111055"/>
                  </a:moveTo>
                  <a:lnTo>
                    <a:pt x="118021" y="111055"/>
                  </a:lnTo>
                  <a:lnTo>
                    <a:pt x="116043" y="109565"/>
                  </a:lnTo>
                  <a:lnTo>
                    <a:pt x="115384" y="109565"/>
                  </a:lnTo>
                  <a:lnTo>
                    <a:pt x="114065" y="109565"/>
                  </a:lnTo>
                  <a:lnTo>
                    <a:pt x="112747" y="108819"/>
                  </a:lnTo>
                  <a:lnTo>
                    <a:pt x="109450" y="106583"/>
                  </a:lnTo>
                  <a:lnTo>
                    <a:pt x="108791" y="106583"/>
                  </a:lnTo>
                  <a:lnTo>
                    <a:pt x="105494" y="103602"/>
                  </a:lnTo>
                  <a:lnTo>
                    <a:pt x="104175" y="102111"/>
                  </a:lnTo>
                  <a:lnTo>
                    <a:pt x="102197" y="101366"/>
                  </a:lnTo>
                  <a:lnTo>
                    <a:pt x="100219" y="99875"/>
                  </a:lnTo>
                  <a:lnTo>
                    <a:pt x="98901" y="98385"/>
                  </a:lnTo>
                  <a:lnTo>
                    <a:pt x="100879" y="98385"/>
                  </a:lnTo>
                  <a:lnTo>
                    <a:pt x="102197" y="96894"/>
                  </a:lnTo>
                  <a:lnTo>
                    <a:pt x="105494" y="96894"/>
                  </a:lnTo>
                  <a:lnTo>
                    <a:pt x="106153" y="95403"/>
                  </a:lnTo>
                  <a:lnTo>
                    <a:pt x="109450" y="95403"/>
                  </a:lnTo>
                  <a:lnTo>
                    <a:pt x="110769" y="93913"/>
                  </a:lnTo>
                  <a:lnTo>
                    <a:pt x="108791" y="90186"/>
                  </a:lnTo>
                  <a:lnTo>
                    <a:pt x="106813" y="87950"/>
                  </a:lnTo>
                  <a:lnTo>
                    <a:pt x="106153" y="87950"/>
                  </a:lnTo>
                  <a:lnTo>
                    <a:pt x="99560" y="90186"/>
                  </a:lnTo>
                  <a:lnTo>
                    <a:pt x="97582" y="90931"/>
                  </a:lnTo>
                  <a:lnTo>
                    <a:pt x="95604" y="90931"/>
                  </a:lnTo>
                  <a:lnTo>
                    <a:pt x="95604" y="90186"/>
                  </a:lnTo>
                  <a:lnTo>
                    <a:pt x="97582" y="88695"/>
                  </a:lnTo>
                  <a:lnTo>
                    <a:pt x="99560" y="87950"/>
                  </a:lnTo>
                  <a:lnTo>
                    <a:pt x="101538" y="86459"/>
                  </a:lnTo>
                  <a:lnTo>
                    <a:pt x="101538" y="84968"/>
                  </a:lnTo>
                  <a:lnTo>
                    <a:pt x="101538" y="81987"/>
                  </a:lnTo>
                  <a:lnTo>
                    <a:pt x="100879" y="76770"/>
                  </a:lnTo>
                  <a:lnTo>
                    <a:pt x="98901" y="73788"/>
                  </a:lnTo>
                  <a:lnTo>
                    <a:pt x="97582" y="70807"/>
                  </a:lnTo>
                  <a:lnTo>
                    <a:pt x="98241" y="58881"/>
                  </a:lnTo>
                  <a:lnTo>
                    <a:pt x="55384" y="61118"/>
                  </a:lnTo>
                  <a:lnTo>
                    <a:pt x="54725" y="58136"/>
                  </a:lnTo>
                  <a:lnTo>
                    <a:pt x="54725" y="55900"/>
                  </a:lnTo>
                  <a:lnTo>
                    <a:pt x="55384" y="54409"/>
                  </a:lnTo>
                  <a:lnTo>
                    <a:pt x="57362" y="52919"/>
                  </a:lnTo>
                  <a:lnTo>
                    <a:pt x="57362" y="49192"/>
                  </a:lnTo>
                  <a:lnTo>
                    <a:pt x="57362" y="47701"/>
                  </a:lnTo>
                  <a:lnTo>
                    <a:pt x="58021" y="45465"/>
                  </a:lnTo>
                  <a:lnTo>
                    <a:pt x="58681" y="44720"/>
                  </a:lnTo>
                  <a:lnTo>
                    <a:pt x="59340" y="43229"/>
                  </a:lnTo>
                  <a:lnTo>
                    <a:pt x="60000" y="38012"/>
                  </a:lnTo>
                  <a:lnTo>
                    <a:pt x="61318" y="36521"/>
                  </a:lnTo>
                  <a:lnTo>
                    <a:pt x="63956" y="32049"/>
                  </a:lnTo>
                  <a:lnTo>
                    <a:pt x="64615" y="30559"/>
                  </a:lnTo>
                  <a:lnTo>
                    <a:pt x="64615" y="27577"/>
                  </a:lnTo>
                  <a:lnTo>
                    <a:pt x="65274" y="27577"/>
                  </a:lnTo>
                  <a:lnTo>
                    <a:pt x="67252" y="25341"/>
                  </a:lnTo>
                  <a:lnTo>
                    <a:pt x="67912" y="19378"/>
                  </a:lnTo>
                  <a:lnTo>
                    <a:pt x="67252" y="17142"/>
                  </a:lnTo>
                  <a:lnTo>
                    <a:pt x="65274" y="15652"/>
                  </a:lnTo>
                  <a:lnTo>
                    <a:pt x="65274" y="14161"/>
                  </a:lnTo>
                  <a:lnTo>
                    <a:pt x="64615" y="10434"/>
                  </a:lnTo>
                  <a:lnTo>
                    <a:pt x="64615" y="9689"/>
                  </a:lnTo>
                  <a:lnTo>
                    <a:pt x="63956" y="8198"/>
                  </a:lnTo>
                  <a:lnTo>
                    <a:pt x="61978" y="6708"/>
                  </a:lnTo>
                  <a:lnTo>
                    <a:pt x="64615" y="5217"/>
                  </a:lnTo>
                  <a:lnTo>
                    <a:pt x="64615" y="3726"/>
                  </a:lnTo>
                  <a:lnTo>
                    <a:pt x="63956" y="1490"/>
                  </a:lnTo>
                  <a:lnTo>
                    <a:pt x="61978" y="0"/>
                  </a:lnTo>
                  <a:lnTo>
                    <a:pt x="0" y="2236"/>
                  </a:lnTo>
                  <a:lnTo>
                    <a:pt x="0" y="35031"/>
                  </a:lnTo>
                  <a:lnTo>
                    <a:pt x="4615" y="39503"/>
                  </a:lnTo>
                  <a:lnTo>
                    <a:pt x="4615" y="40993"/>
                  </a:lnTo>
                  <a:lnTo>
                    <a:pt x="7252" y="47701"/>
                  </a:lnTo>
                  <a:lnTo>
                    <a:pt x="7912" y="49192"/>
                  </a:lnTo>
                  <a:lnTo>
                    <a:pt x="7912" y="53664"/>
                  </a:lnTo>
                  <a:lnTo>
                    <a:pt x="8571" y="55900"/>
                  </a:lnTo>
                  <a:lnTo>
                    <a:pt x="9890" y="61863"/>
                  </a:lnTo>
                  <a:lnTo>
                    <a:pt x="11208" y="66335"/>
                  </a:lnTo>
                  <a:lnTo>
                    <a:pt x="8571" y="70062"/>
                  </a:lnTo>
                  <a:lnTo>
                    <a:pt x="7252" y="76024"/>
                  </a:lnTo>
                  <a:lnTo>
                    <a:pt x="7252" y="78260"/>
                  </a:lnTo>
                  <a:lnTo>
                    <a:pt x="5934" y="81987"/>
                  </a:lnTo>
                  <a:lnTo>
                    <a:pt x="7912" y="87204"/>
                  </a:lnTo>
                  <a:lnTo>
                    <a:pt x="7912" y="90186"/>
                  </a:lnTo>
                  <a:lnTo>
                    <a:pt x="5934" y="97639"/>
                  </a:lnTo>
                  <a:lnTo>
                    <a:pt x="3956" y="101366"/>
                  </a:lnTo>
                  <a:lnTo>
                    <a:pt x="6593" y="101366"/>
                  </a:lnTo>
                  <a:lnTo>
                    <a:pt x="9890" y="101366"/>
                  </a:lnTo>
                  <a:lnTo>
                    <a:pt x="11868" y="99875"/>
                  </a:lnTo>
                  <a:lnTo>
                    <a:pt x="14505" y="99875"/>
                  </a:lnTo>
                  <a:lnTo>
                    <a:pt x="16483" y="99875"/>
                  </a:lnTo>
                  <a:lnTo>
                    <a:pt x="22417" y="101366"/>
                  </a:lnTo>
                  <a:lnTo>
                    <a:pt x="25714" y="102111"/>
                  </a:lnTo>
                  <a:lnTo>
                    <a:pt x="29010" y="103602"/>
                  </a:lnTo>
                  <a:lnTo>
                    <a:pt x="33626" y="105838"/>
                  </a:lnTo>
                  <a:lnTo>
                    <a:pt x="42197" y="105838"/>
                  </a:lnTo>
                  <a:lnTo>
                    <a:pt x="47472" y="105838"/>
                  </a:lnTo>
                  <a:lnTo>
                    <a:pt x="52087" y="105838"/>
                  </a:lnTo>
                  <a:lnTo>
                    <a:pt x="52747" y="105093"/>
                  </a:lnTo>
                  <a:lnTo>
                    <a:pt x="51428" y="102857"/>
                  </a:lnTo>
                  <a:lnTo>
                    <a:pt x="48131" y="102857"/>
                  </a:lnTo>
                  <a:lnTo>
                    <a:pt x="47472" y="102857"/>
                  </a:lnTo>
                  <a:lnTo>
                    <a:pt x="46153" y="102111"/>
                  </a:lnTo>
                  <a:lnTo>
                    <a:pt x="46813" y="99875"/>
                  </a:lnTo>
                  <a:lnTo>
                    <a:pt x="47472" y="98385"/>
                  </a:lnTo>
                  <a:lnTo>
                    <a:pt x="50769" y="98385"/>
                  </a:lnTo>
                  <a:lnTo>
                    <a:pt x="55384" y="100621"/>
                  </a:lnTo>
                  <a:lnTo>
                    <a:pt x="60000" y="105093"/>
                  </a:lnTo>
                  <a:lnTo>
                    <a:pt x="63956" y="105838"/>
                  </a:lnTo>
                  <a:lnTo>
                    <a:pt x="66593" y="104347"/>
                  </a:lnTo>
                  <a:lnTo>
                    <a:pt x="65934" y="107329"/>
                  </a:lnTo>
                  <a:lnTo>
                    <a:pt x="64615" y="111801"/>
                  </a:lnTo>
                  <a:lnTo>
                    <a:pt x="65934" y="114037"/>
                  </a:lnTo>
                  <a:lnTo>
                    <a:pt x="69890" y="115527"/>
                  </a:lnTo>
                  <a:lnTo>
                    <a:pt x="73186" y="115527"/>
                  </a:lnTo>
                  <a:lnTo>
                    <a:pt x="75824" y="117763"/>
                  </a:lnTo>
                  <a:lnTo>
                    <a:pt x="78461" y="117763"/>
                  </a:lnTo>
                  <a:lnTo>
                    <a:pt x="79780" y="114782"/>
                  </a:lnTo>
                  <a:lnTo>
                    <a:pt x="82417" y="111801"/>
                  </a:lnTo>
                  <a:lnTo>
                    <a:pt x="84395" y="111055"/>
                  </a:lnTo>
                  <a:lnTo>
                    <a:pt x="87032" y="111801"/>
                  </a:lnTo>
                  <a:lnTo>
                    <a:pt x="89670" y="115527"/>
                  </a:lnTo>
                  <a:lnTo>
                    <a:pt x="92307" y="115527"/>
                  </a:lnTo>
                  <a:lnTo>
                    <a:pt x="93626" y="114037"/>
                  </a:lnTo>
                  <a:lnTo>
                    <a:pt x="92307" y="108074"/>
                  </a:lnTo>
                  <a:lnTo>
                    <a:pt x="92307" y="106583"/>
                  </a:lnTo>
                  <a:lnTo>
                    <a:pt x="93626" y="105093"/>
                  </a:lnTo>
                  <a:lnTo>
                    <a:pt x="96263" y="105093"/>
                  </a:lnTo>
                  <a:lnTo>
                    <a:pt x="98901" y="106583"/>
                  </a:lnTo>
                  <a:lnTo>
                    <a:pt x="98901" y="109565"/>
                  </a:lnTo>
                  <a:lnTo>
                    <a:pt x="104175" y="110310"/>
                  </a:lnTo>
                  <a:lnTo>
                    <a:pt x="108791" y="112546"/>
                  </a:lnTo>
                  <a:lnTo>
                    <a:pt x="110769" y="114782"/>
                  </a:lnTo>
                  <a:lnTo>
                    <a:pt x="109450" y="117018"/>
                  </a:lnTo>
                  <a:lnTo>
                    <a:pt x="108791" y="120000"/>
                  </a:lnTo>
                  <a:lnTo>
                    <a:pt x="111428" y="120000"/>
                  </a:lnTo>
                  <a:lnTo>
                    <a:pt x="112747" y="117763"/>
                  </a:lnTo>
                  <a:lnTo>
                    <a:pt x="114065" y="116273"/>
                  </a:lnTo>
                  <a:lnTo>
                    <a:pt x="116043" y="117763"/>
                  </a:lnTo>
                  <a:lnTo>
                    <a:pt x="116043" y="119254"/>
                  </a:lnTo>
                  <a:lnTo>
                    <a:pt x="117362" y="117018"/>
                  </a:lnTo>
                  <a:lnTo>
                    <a:pt x="119340" y="114782"/>
                  </a:lnTo>
                  <a:lnTo>
                    <a:pt x="120000" y="114037"/>
                  </a:lnTo>
                  <a:lnTo>
                    <a:pt x="119340" y="111055"/>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8" name="Shape 1415">
              <a:extLst>
                <a:ext uri="{FF2B5EF4-FFF2-40B4-BE49-F238E27FC236}">
                  <a16:creationId xmlns:a16="http://schemas.microsoft.com/office/drawing/2014/main" id="{7D53DB53-D355-91A1-B60A-246A72201DBD}"/>
                </a:ext>
              </a:extLst>
            </p:cNvPr>
            <p:cNvSpPr/>
            <p:nvPr/>
          </p:nvSpPr>
          <p:spPr>
            <a:xfrm>
              <a:off x="6765442" y="2707850"/>
              <a:ext cx="274889" cy="247907"/>
            </a:xfrm>
            <a:custGeom>
              <a:avLst/>
              <a:gdLst/>
              <a:ahLst/>
              <a:cxnLst/>
              <a:rect l="0" t="0" r="0" b="0"/>
              <a:pathLst>
                <a:path w="120000" h="120000" extrusionOk="0">
                  <a:moveTo>
                    <a:pt x="4417" y="100408"/>
                  </a:moveTo>
                  <a:lnTo>
                    <a:pt x="2944" y="98775"/>
                  </a:lnTo>
                  <a:lnTo>
                    <a:pt x="5153" y="101224"/>
                  </a:lnTo>
                  <a:lnTo>
                    <a:pt x="7361" y="102040"/>
                  </a:lnTo>
                  <a:lnTo>
                    <a:pt x="8834" y="100408"/>
                  </a:lnTo>
                  <a:lnTo>
                    <a:pt x="16196" y="101224"/>
                  </a:lnTo>
                  <a:lnTo>
                    <a:pt x="16196" y="120000"/>
                  </a:lnTo>
                  <a:lnTo>
                    <a:pt x="85398" y="117551"/>
                  </a:lnTo>
                  <a:lnTo>
                    <a:pt x="86134" y="117551"/>
                  </a:lnTo>
                  <a:lnTo>
                    <a:pt x="87607" y="113469"/>
                  </a:lnTo>
                  <a:lnTo>
                    <a:pt x="88343" y="111020"/>
                  </a:lnTo>
                  <a:lnTo>
                    <a:pt x="87607" y="108571"/>
                  </a:lnTo>
                  <a:lnTo>
                    <a:pt x="87607" y="103673"/>
                  </a:lnTo>
                  <a:lnTo>
                    <a:pt x="87607" y="102040"/>
                  </a:lnTo>
                  <a:lnTo>
                    <a:pt x="86134" y="99591"/>
                  </a:lnTo>
                  <a:lnTo>
                    <a:pt x="85398" y="98775"/>
                  </a:lnTo>
                  <a:lnTo>
                    <a:pt x="85398" y="97142"/>
                  </a:lnTo>
                  <a:lnTo>
                    <a:pt x="86134" y="95510"/>
                  </a:lnTo>
                  <a:lnTo>
                    <a:pt x="85398" y="94693"/>
                  </a:lnTo>
                  <a:lnTo>
                    <a:pt x="86871" y="92244"/>
                  </a:lnTo>
                  <a:lnTo>
                    <a:pt x="89079" y="88979"/>
                  </a:lnTo>
                  <a:lnTo>
                    <a:pt x="89815" y="88979"/>
                  </a:lnTo>
                  <a:lnTo>
                    <a:pt x="89079" y="87346"/>
                  </a:lnTo>
                  <a:lnTo>
                    <a:pt x="90552" y="84081"/>
                  </a:lnTo>
                  <a:lnTo>
                    <a:pt x="92024" y="81632"/>
                  </a:lnTo>
                  <a:lnTo>
                    <a:pt x="90552" y="80816"/>
                  </a:lnTo>
                  <a:lnTo>
                    <a:pt x="91288" y="77551"/>
                  </a:lnTo>
                  <a:lnTo>
                    <a:pt x="93496" y="75102"/>
                  </a:lnTo>
                  <a:lnTo>
                    <a:pt x="97177" y="70204"/>
                  </a:lnTo>
                  <a:lnTo>
                    <a:pt x="99386" y="66122"/>
                  </a:lnTo>
                  <a:lnTo>
                    <a:pt x="99386" y="62857"/>
                  </a:lnTo>
                  <a:lnTo>
                    <a:pt x="100858" y="58775"/>
                  </a:lnTo>
                  <a:lnTo>
                    <a:pt x="101595" y="58775"/>
                  </a:lnTo>
                  <a:lnTo>
                    <a:pt x="103067" y="57142"/>
                  </a:lnTo>
                  <a:lnTo>
                    <a:pt x="103803" y="54693"/>
                  </a:lnTo>
                  <a:lnTo>
                    <a:pt x="105276" y="53061"/>
                  </a:lnTo>
                  <a:lnTo>
                    <a:pt x="108220" y="51428"/>
                  </a:lnTo>
                  <a:lnTo>
                    <a:pt x="107484" y="48979"/>
                  </a:lnTo>
                  <a:lnTo>
                    <a:pt x="108957" y="47346"/>
                  </a:lnTo>
                  <a:lnTo>
                    <a:pt x="110429" y="44081"/>
                  </a:lnTo>
                  <a:lnTo>
                    <a:pt x="110429" y="39183"/>
                  </a:lnTo>
                  <a:lnTo>
                    <a:pt x="110429" y="35102"/>
                  </a:lnTo>
                  <a:lnTo>
                    <a:pt x="112638" y="31836"/>
                  </a:lnTo>
                  <a:lnTo>
                    <a:pt x="114846" y="30204"/>
                  </a:lnTo>
                  <a:lnTo>
                    <a:pt x="114846" y="28571"/>
                  </a:lnTo>
                  <a:lnTo>
                    <a:pt x="115582" y="26938"/>
                  </a:lnTo>
                  <a:lnTo>
                    <a:pt x="115582" y="23673"/>
                  </a:lnTo>
                  <a:lnTo>
                    <a:pt x="117791" y="22857"/>
                  </a:lnTo>
                  <a:lnTo>
                    <a:pt x="118527" y="21224"/>
                  </a:lnTo>
                  <a:lnTo>
                    <a:pt x="119263" y="19591"/>
                  </a:lnTo>
                  <a:lnTo>
                    <a:pt x="120000" y="17959"/>
                  </a:lnTo>
                  <a:lnTo>
                    <a:pt x="120000" y="15510"/>
                  </a:lnTo>
                  <a:lnTo>
                    <a:pt x="101595" y="16326"/>
                  </a:lnTo>
                  <a:lnTo>
                    <a:pt x="108957" y="4081"/>
                  </a:lnTo>
                  <a:lnTo>
                    <a:pt x="108220" y="0"/>
                  </a:lnTo>
                  <a:lnTo>
                    <a:pt x="0" y="3265"/>
                  </a:lnTo>
                  <a:lnTo>
                    <a:pt x="5153" y="38367"/>
                  </a:lnTo>
                  <a:lnTo>
                    <a:pt x="4417" y="100408"/>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39" name="Shape 1416">
              <a:extLst>
                <a:ext uri="{FF2B5EF4-FFF2-40B4-BE49-F238E27FC236}">
                  <a16:creationId xmlns:a16="http://schemas.microsoft.com/office/drawing/2014/main" id="{8BB20BD8-A0CE-3F13-7D71-29987701144D}"/>
                </a:ext>
              </a:extLst>
            </p:cNvPr>
            <p:cNvSpPr/>
            <p:nvPr/>
          </p:nvSpPr>
          <p:spPr>
            <a:xfrm>
              <a:off x="7011664" y="2657257"/>
              <a:ext cx="465457" cy="151778"/>
            </a:xfrm>
            <a:custGeom>
              <a:avLst/>
              <a:gdLst/>
              <a:ahLst/>
              <a:cxnLst/>
              <a:rect l="0" t="0" r="0" b="0"/>
              <a:pathLst>
                <a:path w="120000" h="120000" extrusionOk="0">
                  <a:moveTo>
                    <a:pt x="71042" y="15700"/>
                  </a:moveTo>
                  <a:cubicBezTo>
                    <a:pt x="30552" y="23551"/>
                    <a:pt x="30552" y="23551"/>
                    <a:pt x="30552" y="23551"/>
                  </a:cubicBezTo>
                  <a:cubicBezTo>
                    <a:pt x="31288" y="34766"/>
                    <a:pt x="31288" y="34766"/>
                    <a:pt x="31288" y="34766"/>
                  </a:cubicBezTo>
                  <a:cubicBezTo>
                    <a:pt x="9570" y="35887"/>
                    <a:pt x="9570" y="35887"/>
                    <a:pt x="9570" y="35887"/>
                  </a:cubicBezTo>
                  <a:cubicBezTo>
                    <a:pt x="8834" y="37009"/>
                    <a:pt x="8834" y="37009"/>
                    <a:pt x="8834" y="37009"/>
                  </a:cubicBezTo>
                  <a:cubicBezTo>
                    <a:pt x="8834" y="40373"/>
                    <a:pt x="8834" y="40373"/>
                    <a:pt x="8834" y="40373"/>
                  </a:cubicBezTo>
                  <a:cubicBezTo>
                    <a:pt x="8834" y="43738"/>
                    <a:pt x="8834" y="43738"/>
                    <a:pt x="8834" y="43738"/>
                  </a:cubicBezTo>
                  <a:cubicBezTo>
                    <a:pt x="8466" y="47102"/>
                    <a:pt x="8466" y="47102"/>
                    <a:pt x="8466" y="47102"/>
                  </a:cubicBezTo>
                  <a:cubicBezTo>
                    <a:pt x="7730" y="48224"/>
                    <a:pt x="7730" y="48224"/>
                    <a:pt x="7730" y="48224"/>
                  </a:cubicBezTo>
                  <a:cubicBezTo>
                    <a:pt x="7361" y="50467"/>
                    <a:pt x="7361" y="50467"/>
                    <a:pt x="7361" y="50467"/>
                  </a:cubicBezTo>
                  <a:cubicBezTo>
                    <a:pt x="7730" y="51588"/>
                    <a:pt x="7730" y="51588"/>
                    <a:pt x="7730" y="51588"/>
                  </a:cubicBezTo>
                  <a:cubicBezTo>
                    <a:pt x="7730" y="51588"/>
                    <a:pt x="8466" y="54953"/>
                    <a:pt x="8466" y="56074"/>
                  </a:cubicBezTo>
                  <a:cubicBezTo>
                    <a:pt x="8834" y="57196"/>
                    <a:pt x="8098" y="58317"/>
                    <a:pt x="8098" y="58317"/>
                  </a:cubicBezTo>
                  <a:cubicBezTo>
                    <a:pt x="7361" y="61682"/>
                    <a:pt x="7361" y="61682"/>
                    <a:pt x="7361" y="61682"/>
                  </a:cubicBezTo>
                  <a:cubicBezTo>
                    <a:pt x="6993" y="65046"/>
                    <a:pt x="6993" y="65046"/>
                    <a:pt x="6993" y="65046"/>
                  </a:cubicBezTo>
                  <a:cubicBezTo>
                    <a:pt x="7361" y="65046"/>
                    <a:pt x="7361" y="65046"/>
                    <a:pt x="7361" y="65046"/>
                  </a:cubicBezTo>
                  <a:cubicBezTo>
                    <a:pt x="7361" y="69532"/>
                    <a:pt x="7361" y="69532"/>
                    <a:pt x="7361" y="69532"/>
                  </a:cubicBezTo>
                  <a:cubicBezTo>
                    <a:pt x="6993" y="71775"/>
                    <a:pt x="6993" y="71775"/>
                    <a:pt x="6993" y="71775"/>
                  </a:cubicBezTo>
                  <a:cubicBezTo>
                    <a:pt x="6625" y="74018"/>
                    <a:pt x="6625" y="74018"/>
                    <a:pt x="6625" y="74018"/>
                  </a:cubicBezTo>
                  <a:cubicBezTo>
                    <a:pt x="5889" y="77383"/>
                    <a:pt x="5889" y="77383"/>
                    <a:pt x="5889" y="77383"/>
                  </a:cubicBezTo>
                  <a:cubicBezTo>
                    <a:pt x="4785" y="78504"/>
                    <a:pt x="4785" y="78504"/>
                    <a:pt x="4785" y="78504"/>
                  </a:cubicBezTo>
                  <a:cubicBezTo>
                    <a:pt x="4785" y="84112"/>
                    <a:pt x="4785" y="84112"/>
                    <a:pt x="4785" y="84112"/>
                  </a:cubicBezTo>
                  <a:cubicBezTo>
                    <a:pt x="4417" y="86355"/>
                    <a:pt x="4417" y="86355"/>
                    <a:pt x="4417" y="86355"/>
                  </a:cubicBezTo>
                  <a:cubicBezTo>
                    <a:pt x="4417" y="88598"/>
                    <a:pt x="4417" y="88598"/>
                    <a:pt x="4417" y="88598"/>
                  </a:cubicBezTo>
                  <a:cubicBezTo>
                    <a:pt x="2944" y="91962"/>
                    <a:pt x="2944" y="91962"/>
                    <a:pt x="2944" y="91962"/>
                  </a:cubicBezTo>
                  <a:cubicBezTo>
                    <a:pt x="1840" y="97570"/>
                    <a:pt x="1840" y="97570"/>
                    <a:pt x="1840" y="97570"/>
                  </a:cubicBezTo>
                  <a:cubicBezTo>
                    <a:pt x="1840" y="103177"/>
                    <a:pt x="1840" y="103177"/>
                    <a:pt x="1840" y="103177"/>
                  </a:cubicBezTo>
                  <a:cubicBezTo>
                    <a:pt x="1840" y="111028"/>
                    <a:pt x="1840" y="111028"/>
                    <a:pt x="1840" y="111028"/>
                  </a:cubicBezTo>
                  <a:cubicBezTo>
                    <a:pt x="736" y="116635"/>
                    <a:pt x="736" y="116635"/>
                    <a:pt x="736" y="116635"/>
                  </a:cubicBezTo>
                  <a:cubicBezTo>
                    <a:pt x="0" y="120000"/>
                    <a:pt x="0" y="120000"/>
                    <a:pt x="0" y="120000"/>
                  </a:cubicBezTo>
                  <a:cubicBezTo>
                    <a:pt x="0" y="120000"/>
                    <a:pt x="0" y="120000"/>
                    <a:pt x="0" y="120000"/>
                  </a:cubicBezTo>
                  <a:cubicBezTo>
                    <a:pt x="85398" y="99813"/>
                    <a:pt x="85398" y="99813"/>
                    <a:pt x="85398" y="99813"/>
                  </a:cubicBezTo>
                  <a:cubicBezTo>
                    <a:pt x="85398" y="99813"/>
                    <a:pt x="85398" y="99813"/>
                    <a:pt x="85398" y="99813"/>
                  </a:cubicBezTo>
                  <a:cubicBezTo>
                    <a:pt x="85398" y="98691"/>
                    <a:pt x="85398" y="98691"/>
                    <a:pt x="85398" y="98691"/>
                  </a:cubicBezTo>
                  <a:cubicBezTo>
                    <a:pt x="85766" y="91962"/>
                    <a:pt x="85766" y="91962"/>
                    <a:pt x="85766" y="91962"/>
                  </a:cubicBezTo>
                  <a:cubicBezTo>
                    <a:pt x="85766" y="88598"/>
                    <a:pt x="85766" y="88598"/>
                    <a:pt x="85766" y="88598"/>
                  </a:cubicBezTo>
                  <a:cubicBezTo>
                    <a:pt x="87239" y="84112"/>
                    <a:pt x="87239" y="84112"/>
                    <a:pt x="87239" y="84112"/>
                  </a:cubicBezTo>
                  <a:cubicBezTo>
                    <a:pt x="88343" y="84112"/>
                    <a:pt x="88343" y="84112"/>
                    <a:pt x="88343" y="84112"/>
                  </a:cubicBezTo>
                  <a:cubicBezTo>
                    <a:pt x="89815" y="80747"/>
                    <a:pt x="89815" y="80747"/>
                    <a:pt x="89815" y="80747"/>
                  </a:cubicBezTo>
                  <a:cubicBezTo>
                    <a:pt x="89447" y="76261"/>
                    <a:pt x="89447" y="76261"/>
                    <a:pt x="89447" y="76261"/>
                  </a:cubicBezTo>
                  <a:cubicBezTo>
                    <a:pt x="90552" y="71775"/>
                    <a:pt x="90552" y="71775"/>
                    <a:pt x="90552" y="71775"/>
                  </a:cubicBezTo>
                  <a:cubicBezTo>
                    <a:pt x="103067" y="49345"/>
                    <a:pt x="103067" y="49345"/>
                    <a:pt x="103067" y="49345"/>
                  </a:cubicBezTo>
                  <a:cubicBezTo>
                    <a:pt x="104907" y="45981"/>
                    <a:pt x="104907" y="45981"/>
                    <a:pt x="104907" y="45981"/>
                  </a:cubicBezTo>
                  <a:cubicBezTo>
                    <a:pt x="105644" y="41495"/>
                    <a:pt x="105644" y="41495"/>
                    <a:pt x="105644" y="41495"/>
                  </a:cubicBezTo>
                  <a:cubicBezTo>
                    <a:pt x="107116" y="34766"/>
                    <a:pt x="107116" y="34766"/>
                    <a:pt x="107116" y="34766"/>
                  </a:cubicBezTo>
                  <a:cubicBezTo>
                    <a:pt x="108220" y="34766"/>
                    <a:pt x="108220" y="34766"/>
                    <a:pt x="108220" y="34766"/>
                  </a:cubicBezTo>
                  <a:cubicBezTo>
                    <a:pt x="109325" y="39252"/>
                    <a:pt x="109325" y="39252"/>
                    <a:pt x="109325" y="39252"/>
                  </a:cubicBezTo>
                  <a:cubicBezTo>
                    <a:pt x="110797" y="34766"/>
                    <a:pt x="110797" y="34766"/>
                    <a:pt x="110797" y="34766"/>
                  </a:cubicBezTo>
                  <a:cubicBezTo>
                    <a:pt x="112638" y="28037"/>
                    <a:pt x="112638" y="28037"/>
                    <a:pt x="112638" y="28037"/>
                  </a:cubicBezTo>
                  <a:cubicBezTo>
                    <a:pt x="116687" y="25794"/>
                    <a:pt x="116687" y="25794"/>
                    <a:pt x="116687" y="25794"/>
                  </a:cubicBezTo>
                  <a:cubicBezTo>
                    <a:pt x="117055" y="21308"/>
                    <a:pt x="117055" y="21308"/>
                    <a:pt x="117055" y="21308"/>
                  </a:cubicBezTo>
                  <a:cubicBezTo>
                    <a:pt x="118159" y="15700"/>
                    <a:pt x="118159" y="15700"/>
                    <a:pt x="118159" y="15700"/>
                  </a:cubicBezTo>
                  <a:cubicBezTo>
                    <a:pt x="119631" y="13457"/>
                    <a:pt x="119631" y="13457"/>
                    <a:pt x="119631" y="13457"/>
                  </a:cubicBezTo>
                  <a:cubicBezTo>
                    <a:pt x="120000" y="13457"/>
                    <a:pt x="120000" y="13457"/>
                    <a:pt x="120000" y="13457"/>
                  </a:cubicBezTo>
                  <a:cubicBezTo>
                    <a:pt x="120000" y="0"/>
                    <a:pt x="120000" y="0"/>
                    <a:pt x="120000" y="0"/>
                  </a:cubicBezTo>
                  <a:lnTo>
                    <a:pt x="71042" y="15700"/>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0" name="Shape 1417">
              <a:extLst>
                <a:ext uri="{FF2B5EF4-FFF2-40B4-BE49-F238E27FC236}">
                  <a16:creationId xmlns:a16="http://schemas.microsoft.com/office/drawing/2014/main" id="{97F62774-AA09-24D2-8449-231852C21A15}"/>
                </a:ext>
              </a:extLst>
            </p:cNvPr>
            <p:cNvSpPr/>
            <p:nvPr/>
          </p:nvSpPr>
          <p:spPr>
            <a:xfrm>
              <a:off x="7342207" y="2606663"/>
              <a:ext cx="465457" cy="205745"/>
            </a:xfrm>
            <a:custGeom>
              <a:avLst/>
              <a:gdLst/>
              <a:ahLst/>
              <a:cxnLst/>
              <a:rect l="0" t="0" r="0" b="0"/>
              <a:pathLst>
                <a:path w="120000" h="120000" extrusionOk="0">
                  <a:moveTo>
                    <a:pt x="119263" y="28333"/>
                  </a:moveTo>
                  <a:cubicBezTo>
                    <a:pt x="118527" y="25833"/>
                    <a:pt x="118527" y="25833"/>
                    <a:pt x="118527" y="25833"/>
                  </a:cubicBezTo>
                  <a:cubicBezTo>
                    <a:pt x="117791" y="23333"/>
                    <a:pt x="117791" y="23333"/>
                    <a:pt x="117791" y="23333"/>
                  </a:cubicBezTo>
                  <a:cubicBezTo>
                    <a:pt x="116687" y="23333"/>
                    <a:pt x="116687" y="23333"/>
                    <a:pt x="116687" y="23333"/>
                  </a:cubicBezTo>
                  <a:cubicBezTo>
                    <a:pt x="116319" y="24166"/>
                    <a:pt x="116319" y="24166"/>
                    <a:pt x="116319" y="24166"/>
                  </a:cubicBezTo>
                  <a:cubicBezTo>
                    <a:pt x="115950" y="31666"/>
                    <a:pt x="115950" y="31666"/>
                    <a:pt x="115950" y="31666"/>
                  </a:cubicBezTo>
                  <a:cubicBezTo>
                    <a:pt x="115950" y="33333"/>
                    <a:pt x="115950" y="33333"/>
                    <a:pt x="115950" y="33333"/>
                  </a:cubicBezTo>
                  <a:cubicBezTo>
                    <a:pt x="114846" y="31666"/>
                    <a:pt x="114846" y="31666"/>
                    <a:pt x="114846" y="31666"/>
                  </a:cubicBezTo>
                  <a:cubicBezTo>
                    <a:pt x="114478" y="26666"/>
                    <a:pt x="114478" y="26666"/>
                    <a:pt x="114478" y="26666"/>
                  </a:cubicBezTo>
                  <a:cubicBezTo>
                    <a:pt x="113742" y="23333"/>
                    <a:pt x="113742" y="23333"/>
                    <a:pt x="113742" y="23333"/>
                  </a:cubicBezTo>
                  <a:cubicBezTo>
                    <a:pt x="112638" y="22500"/>
                    <a:pt x="112638" y="22500"/>
                    <a:pt x="112638" y="22500"/>
                  </a:cubicBezTo>
                  <a:cubicBezTo>
                    <a:pt x="110429" y="25000"/>
                    <a:pt x="110429" y="25000"/>
                    <a:pt x="110429" y="25000"/>
                  </a:cubicBezTo>
                  <a:cubicBezTo>
                    <a:pt x="109693" y="25000"/>
                    <a:pt x="109693" y="25000"/>
                    <a:pt x="109693" y="25000"/>
                  </a:cubicBezTo>
                  <a:cubicBezTo>
                    <a:pt x="107484" y="26666"/>
                    <a:pt x="107484" y="26666"/>
                    <a:pt x="107484" y="26666"/>
                  </a:cubicBezTo>
                  <a:cubicBezTo>
                    <a:pt x="106380" y="29166"/>
                    <a:pt x="106380" y="29166"/>
                    <a:pt x="106380" y="29166"/>
                  </a:cubicBezTo>
                  <a:cubicBezTo>
                    <a:pt x="105276" y="32500"/>
                    <a:pt x="105276" y="32500"/>
                    <a:pt x="105276" y="32500"/>
                  </a:cubicBezTo>
                  <a:cubicBezTo>
                    <a:pt x="104907" y="30833"/>
                    <a:pt x="104907" y="30833"/>
                    <a:pt x="104907" y="30833"/>
                  </a:cubicBezTo>
                  <a:cubicBezTo>
                    <a:pt x="104907" y="26666"/>
                    <a:pt x="104907" y="26666"/>
                    <a:pt x="104907" y="26666"/>
                  </a:cubicBezTo>
                  <a:cubicBezTo>
                    <a:pt x="104907" y="25000"/>
                    <a:pt x="104907" y="25000"/>
                    <a:pt x="104907" y="25000"/>
                  </a:cubicBezTo>
                  <a:cubicBezTo>
                    <a:pt x="104171" y="22500"/>
                    <a:pt x="104171" y="22500"/>
                    <a:pt x="104171" y="22500"/>
                  </a:cubicBezTo>
                  <a:cubicBezTo>
                    <a:pt x="103803" y="20833"/>
                    <a:pt x="103803" y="20833"/>
                    <a:pt x="103803" y="20833"/>
                  </a:cubicBezTo>
                  <a:cubicBezTo>
                    <a:pt x="103435" y="19166"/>
                    <a:pt x="103435" y="19166"/>
                    <a:pt x="103435" y="19166"/>
                  </a:cubicBezTo>
                  <a:cubicBezTo>
                    <a:pt x="103435" y="16666"/>
                    <a:pt x="103435" y="16666"/>
                    <a:pt x="103435" y="16666"/>
                  </a:cubicBezTo>
                  <a:cubicBezTo>
                    <a:pt x="103435" y="15000"/>
                    <a:pt x="103435" y="15000"/>
                    <a:pt x="103435" y="15000"/>
                  </a:cubicBezTo>
                  <a:cubicBezTo>
                    <a:pt x="104171" y="13333"/>
                    <a:pt x="104171" y="13333"/>
                    <a:pt x="104171" y="13333"/>
                  </a:cubicBezTo>
                  <a:cubicBezTo>
                    <a:pt x="104171" y="13333"/>
                    <a:pt x="104171" y="13333"/>
                    <a:pt x="104171" y="13333"/>
                  </a:cubicBezTo>
                  <a:cubicBezTo>
                    <a:pt x="104539" y="16666"/>
                    <a:pt x="104539" y="16666"/>
                    <a:pt x="104539" y="16666"/>
                  </a:cubicBezTo>
                  <a:cubicBezTo>
                    <a:pt x="104907" y="21666"/>
                    <a:pt x="104907" y="21666"/>
                    <a:pt x="104907" y="21666"/>
                  </a:cubicBezTo>
                  <a:cubicBezTo>
                    <a:pt x="105644" y="25833"/>
                    <a:pt x="105644" y="25833"/>
                    <a:pt x="105644" y="25833"/>
                  </a:cubicBezTo>
                  <a:cubicBezTo>
                    <a:pt x="106748" y="24166"/>
                    <a:pt x="106748" y="24166"/>
                    <a:pt x="106748" y="24166"/>
                  </a:cubicBezTo>
                  <a:cubicBezTo>
                    <a:pt x="107116" y="23333"/>
                    <a:pt x="107116" y="23333"/>
                    <a:pt x="107116" y="23333"/>
                  </a:cubicBezTo>
                  <a:cubicBezTo>
                    <a:pt x="108220" y="21666"/>
                    <a:pt x="108220" y="21666"/>
                    <a:pt x="108220" y="21666"/>
                  </a:cubicBezTo>
                  <a:cubicBezTo>
                    <a:pt x="108588" y="21666"/>
                    <a:pt x="108588" y="21666"/>
                    <a:pt x="108588" y="21666"/>
                  </a:cubicBezTo>
                  <a:cubicBezTo>
                    <a:pt x="110061" y="20000"/>
                    <a:pt x="110061" y="20000"/>
                    <a:pt x="110061" y="20000"/>
                  </a:cubicBezTo>
                  <a:cubicBezTo>
                    <a:pt x="110429" y="18333"/>
                    <a:pt x="110429" y="18333"/>
                    <a:pt x="110429" y="18333"/>
                  </a:cubicBezTo>
                  <a:cubicBezTo>
                    <a:pt x="112269" y="18333"/>
                    <a:pt x="112269" y="18333"/>
                    <a:pt x="112269" y="18333"/>
                  </a:cubicBezTo>
                  <a:cubicBezTo>
                    <a:pt x="112638" y="15833"/>
                    <a:pt x="112638" y="15833"/>
                    <a:pt x="112638" y="15833"/>
                  </a:cubicBezTo>
                  <a:cubicBezTo>
                    <a:pt x="113006" y="15000"/>
                    <a:pt x="113006" y="15000"/>
                    <a:pt x="113006" y="15000"/>
                  </a:cubicBezTo>
                  <a:cubicBezTo>
                    <a:pt x="113006" y="15000"/>
                    <a:pt x="112638" y="14166"/>
                    <a:pt x="112638" y="13333"/>
                  </a:cubicBezTo>
                  <a:cubicBezTo>
                    <a:pt x="112269" y="13333"/>
                    <a:pt x="112269" y="13333"/>
                    <a:pt x="112269" y="13333"/>
                  </a:cubicBezTo>
                  <a:cubicBezTo>
                    <a:pt x="111533" y="10833"/>
                    <a:pt x="111533" y="10833"/>
                    <a:pt x="111533" y="10833"/>
                  </a:cubicBezTo>
                  <a:cubicBezTo>
                    <a:pt x="111533" y="10000"/>
                    <a:pt x="111533" y="10000"/>
                    <a:pt x="111533" y="10000"/>
                  </a:cubicBezTo>
                  <a:cubicBezTo>
                    <a:pt x="111901" y="10000"/>
                    <a:pt x="111901" y="10000"/>
                    <a:pt x="111901" y="10000"/>
                  </a:cubicBezTo>
                  <a:cubicBezTo>
                    <a:pt x="113742" y="11666"/>
                    <a:pt x="113742" y="11666"/>
                    <a:pt x="113742" y="11666"/>
                  </a:cubicBezTo>
                  <a:cubicBezTo>
                    <a:pt x="114846" y="11666"/>
                    <a:pt x="114846" y="11666"/>
                    <a:pt x="114846" y="11666"/>
                  </a:cubicBezTo>
                  <a:cubicBezTo>
                    <a:pt x="114846" y="9166"/>
                    <a:pt x="114846" y="9166"/>
                    <a:pt x="114846" y="9166"/>
                  </a:cubicBezTo>
                  <a:cubicBezTo>
                    <a:pt x="113742" y="5833"/>
                    <a:pt x="113742" y="5833"/>
                    <a:pt x="113742" y="5833"/>
                  </a:cubicBezTo>
                  <a:cubicBezTo>
                    <a:pt x="113374" y="3333"/>
                    <a:pt x="113374" y="3333"/>
                    <a:pt x="113374" y="3333"/>
                  </a:cubicBezTo>
                  <a:cubicBezTo>
                    <a:pt x="112269" y="0"/>
                    <a:pt x="112269" y="0"/>
                    <a:pt x="112269" y="0"/>
                  </a:cubicBezTo>
                  <a:cubicBezTo>
                    <a:pt x="80245" y="15000"/>
                    <a:pt x="80245" y="15000"/>
                    <a:pt x="80245" y="15000"/>
                  </a:cubicBezTo>
                  <a:cubicBezTo>
                    <a:pt x="57055" y="23333"/>
                    <a:pt x="57055" y="23333"/>
                    <a:pt x="57055" y="23333"/>
                  </a:cubicBezTo>
                  <a:cubicBezTo>
                    <a:pt x="34601" y="29166"/>
                    <a:pt x="34601" y="29166"/>
                    <a:pt x="34601" y="29166"/>
                  </a:cubicBezTo>
                  <a:cubicBezTo>
                    <a:pt x="34601" y="39166"/>
                    <a:pt x="34601" y="39166"/>
                    <a:pt x="34601" y="39166"/>
                  </a:cubicBezTo>
                  <a:cubicBezTo>
                    <a:pt x="34233" y="39166"/>
                    <a:pt x="34233" y="39166"/>
                    <a:pt x="34233" y="39166"/>
                  </a:cubicBezTo>
                  <a:cubicBezTo>
                    <a:pt x="32760" y="40833"/>
                    <a:pt x="32760" y="40833"/>
                    <a:pt x="32760" y="40833"/>
                  </a:cubicBezTo>
                  <a:cubicBezTo>
                    <a:pt x="31656" y="45000"/>
                    <a:pt x="31656" y="45000"/>
                    <a:pt x="31656" y="45000"/>
                  </a:cubicBezTo>
                  <a:cubicBezTo>
                    <a:pt x="31288" y="48333"/>
                    <a:pt x="31288" y="48333"/>
                    <a:pt x="31288" y="48333"/>
                  </a:cubicBezTo>
                  <a:cubicBezTo>
                    <a:pt x="27239" y="50000"/>
                    <a:pt x="27239" y="50000"/>
                    <a:pt x="27239" y="50000"/>
                  </a:cubicBezTo>
                  <a:cubicBezTo>
                    <a:pt x="25398" y="55000"/>
                    <a:pt x="25398" y="55000"/>
                    <a:pt x="25398" y="55000"/>
                  </a:cubicBezTo>
                  <a:cubicBezTo>
                    <a:pt x="23926" y="58333"/>
                    <a:pt x="23926" y="58333"/>
                    <a:pt x="23926" y="58333"/>
                  </a:cubicBezTo>
                  <a:cubicBezTo>
                    <a:pt x="22822" y="55000"/>
                    <a:pt x="22822" y="55000"/>
                    <a:pt x="22822" y="55000"/>
                  </a:cubicBezTo>
                  <a:cubicBezTo>
                    <a:pt x="21717" y="55000"/>
                    <a:pt x="21717" y="55000"/>
                    <a:pt x="21717" y="55000"/>
                  </a:cubicBezTo>
                  <a:cubicBezTo>
                    <a:pt x="20245" y="60000"/>
                    <a:pt x="20245" y="60000"/>
                    <a:pt x="20245" y="60000"/>
                  </a:cubicBezTo>
                  <a:cubicBezTo>
                    <a:pt x="19509" y="63333"/>
                    <a:pt x="19509" y="63333"/>
                    <a:pt x="19509" y="63333"/>
                  </a:cubicBezTo>
                  <a:cubicBezTo>
                    <a:pt x="17668" y="65833"/>
                    <a:pt x="17668" y="65833"/>
                    <a:pt x="17668" y="65833"/>
                  </a:cubicBezTo>
                  <a:cubicBezTo>
                    <a:pt x="5153" y="82500"/>
                    <a:pt x="5153" y="82500"/>
                    <a:pt x="5153" y="82500"/>
                  </a:cubicBezTo>
                  <a:cubicBezTo>
                    <a:pt x="4049" y="85833"/>
                    <a:pt x="4049" y="85833"/>
                    <a:pt x="4049" y="85833"/>
                  </a:cubicBezTo>
                  <a:cubicBezTo>
                    <a:pt x="4417" y="89166"/>
                    <a:pt x="4417" y="89166"/>
                    <a:pt x="4417" y="89166"/>
                  </a:cubicBezTo>
                  <a:cubicBezTo>
                    <a:pt x="2944" y="91666"/>
                    <a:pt x="2944" y="91666"/>
                    <a:pt x="2944" y="91666"/>
                  </a:cubicBezTo>
                  <a:cubicBezTo>
                    <a:pt x="1840" y="91666"/>
                    <a:pt x="1840" y="91666"/>
                    <a:pt x="1840" y="91666"/>
                  </a:cubicBezTo>
                  <a:cubicBezTo>
                    <a:pt x="368" y="95000"/>
                    <a:pt x="368" y="95000"/>
                    <a:pt x="368" y="95000"/>
                  </a:cubicBezTo>
                  <a:cubicBezTo>
                    <a:pt x="368" y="97500"/>
                    <a:pt x="368" y="97500"/>
                    <a:pt x="368" y="97500"/>
                  </a:cubicBezTo>
                  <a:cubicBezTo>
                    <a:pt x="0" y="102500"/>
                    <a:pt x="0" y="102500"/>
                    <a:pt x="0" y="102500"/>
                  </a:cubicBezTo>
                  <a:cubicBezTo>
                    <a:pt x="0" y="103333"/>
                    <a:pt x="0" y="103333"/>
                    <a:pt x="0" y="103333"/>
                  </a:cubicBezTo>
                  <a:cubicBezTo>
                    <a:pt x="0" y="103333"/>
                    <a:pt x="0" y="103333"/>
                    <a:pt x="0" y="103333"/>
                  </a:cubicBezTo>
                  <a:cubicBezTo>
                    <a:pt x="20613" y="98333"/>
                    <a:pt x="20613" y="98333"/>
                    <a:pt x="20613" y="98333"/>
                  </a:cubicBezTo>
                  <a:cubicBezTo>
                    <a:pt x="26871" y="87500"/>
                    <a:pt x="26871" y="87500"/>
                    <a:pt x="26871" y="87500"/>
                  </a:cubicBezTo>
                  <a:cubicBezTo>
                    <a:pt x="30552" y="86666"/>
                    <a:pt x="30552" y="86666"/>
                    <a:pt x="30552" y="86666"/>
                  </a:cubicBezTo>
                  <a:cubicBezTo>
                    <a:pt x="33128" y="86666"/>
                    <a:pt x="33128" y="86666"/>
                    <a:pt x="33128" y="86666"/>
                  </a:cubicBezTo>
                  <a:cubicBezTo>
                    <a:pt x="37546" y="88333"/>
                    <a:pt x="37546" y="88333"/>
                    <a:pt x="37546" y="88333"/>
                  </a:cubicBezTo>
                  <a:cubicBezTo>
                    <a:pt x="39754" y="87500"/>
                    <a:pt x="39754" y="87500"/>
                    <a:pt x="39754" y="87500"/>
                  </a:cubicBezTo>
                  <a:cubicBezTo>
                    <a:pt x="40858" y="86666"/>
                    <a:pt x="40858" y="86666"/>
                    <a:pt x="40858" y="86666"/>
                  </a:cubicBezTo>
                  <a:cubicBezTo>
                    <a:pt x="42699" y="84166"/>
                    <a:pt x="42699" y="84166"/>
                    <a:pt x="42699" y="84166"/>
                  </a:cubicBezTo>
                  <a:cubicBezTo>
                    <a:pt x="45276" y="83333"/>
                    <a:pt x="45276" y="83333"/>
                    <a:pt x="45276" y="83333"/>
                  </a:cubicBezTo>
                  <a:cubicBezTo>
                    <a:pt x="48588" y="84166"/>
                    <a:pt x="48588" y="84166"/>
                    <a:pt x="48588" y="84166"/>
                  </a:cubicBezTo>
                  <a:cubicBezTo>
                    <a:pt x="50797" y="86666"/>
                    <a:pt x="50797" y="86666"/>
                    <a:pt x="50797" y="86666"/>
                  </a:cubicBezTo>
                  <a:cubicBezTo>
                    <a:pt x="52269" y="95000"/>
                    <a:pt x="52269" y="95000"/>
                    <a:pt x="52269" y="95000"/>
                  </a:cubicBezTo>
                  <a:cubicBezTo>
                    <a:pt x="66993" y="88333"/>
                    <a:pt x="66993" y="88333"/>
                    <a:pt x="66993" y="88333"/>
                  </a:cubicBezTo>
                  <a:cubicBezTo>
                    <a:pt x="86134" y="120000"/>
                    <a:pt x="86134" y="120000"/>
                    <a:pt x="86134" y="120000"/>
                  </a:cubicBezTo>
                  <a:cubicBezTo>
                    <a:pt x="89447" y="116666"/>
                    <a:pt x="89447" y="116666"/>
                    <a:pt x="89447" y="116666"/>
                  </a:cubicBezTo>
                  <a:cubicBezTo>
                    <a:pt x="90184" y="116666"/>
                    <a:pt x="90184" y="116666"/>
                    <a:pt x="90184" y="116666"/>
                  </a:cubicBezTo>
                  <a:cubicBezTo>
                    <a:pt x="93496" y="115833"/>
                    <a:pt x="93496" y="115833"/>
                    <a:pt x="93496" y="115833"/>
                  </a:cubicBezTo>
                  <a:cubicBezTo>
                    <a:pt x="94233" y="113333"/>
                    <a:pt x="94233" y="113333"/>
                    <a:pt x="94233" y="113333"/>
                  </a:cubicBezTo>
                  <a:cubicBezTo>
                    <a:pt x="95337" y="110833"/>
                    <a:pt x="95337" y="110833"/>
                    <a:pt x="95337" y="110833"/>
                  </a:cubicBezTo>
                  <a:cubicBezTo>
                    <a:pt x="95705" y="103333"/>
                    <a:pt x="95705" y="103333"/>
                    <a:pt x="95705" y="103333"/>
                  </a:cubicBezTo>
                  <a:cubicBezTo>
                    <a:pt x="96809" y="97500"/>
                    <a:pt x="96809" y="97500"/>
                    <a:pt x="96809" y="97500"/>
                  </a:cubicBezTo>
                  <a:cubicBezTo>
                    <a:pt x="98282" y="92500"/>
                    <a:pt x="98282" y="92500"/>
                    <a:pt x="98282" y="92500"/>
                  </a:cubicBezTo>
                  <a:cubicBezTo>
                    <a:pt x="99754" y="90000"/>
                    <a:pt x="99754" y="90000"/>
                    <a:pt x="99754" y="90000"/>
                  </a:cubicBezTo>
                  <a:cubicBezTo>
                    <a:pt x="99754" y="88333"/>
                    <a:pt x="99754" y="88333"/>
                    <a:pt x="99754" y="88333"/>
                  </a:cubicBezTo>
                  <a:cubicBezTo>
                    <a:pt x="99386" y="85833"/>
                    <a:pt x="99386" y="85833"/>
                    <a:pt x="99386" y="85833"/>
                  </a:cubicBezTo>
                  <a:cubicBezTo>
                    <a:pt x="99018" y="84166"/>
                    <a:pt x="99018" y="84166"/>
                    <a:pt x="99018" y="84166"/>
                  </a:cubicBezTo>
                  <a:cubicBezTo>
                    <a:pt x="99386" y="83333"/>
                    <a:pt x="99386" y="83333"/>
                    <a:pt x="99386" y="83333"/>
                  </a:cubicBezTo>
                  <a:cubicBezTo>
                    <a:pt x="99386" y="81666"/>
                    <a:pt x="99386" y="81666"/>
                    <a:pt x="99386" y="81666"/>
                  </a:cubicBezTo>
                  <a:cubicBezTo>
                    <a:pt x="99754" y="80833"/>
                    <a:pt x="99754" y="80833"/>
                    <a:pt x="99754" y="80833"/>
                  </a:cubicBezTo>
                  <a:cubicBezTo>
                    <a:pt x="100122" y="80833"/>
                    <a:pt x="100122" y="80833"/>
                    <a:pt x="100122" y="80833"/>
                  </a:cubicBezTo>
                  <a:cubicBezTo>
                    <a:pt x="100490" y="81666"/>
                    <a:pt x="100490" y="81666"/>
                    <a:pt x="100490" y="81666"/>
                  </a:cubicBezTo>
                  <a:cubicBezTo>
                    <a:pt x="100858" y="85000"/>
                    <a:pt x="100858" y="85000"/>
                    <a:pt x="100858" y="85000"/>
                  </a:cubicBezTo>
                  <a:cubicBezTo>
                    <a:pt x="102331" y="83333"/>
                    <a:pt x="102331" y="83333"/>
                    <a:pt x="102331" y="83333"/>
                  </a:cubicBezTo>
                  <a:cubicBezTo>
                    <a:pt x="103435" y="82500"/>
                    <a:pt x="103435" y="82500"/>
                    <a:pt x="103435" y="82500"/>
                  </a:cubicBezTo>
                  <a:cubicBezTo>
                    <a:pt x="103435" y="80833"/>
                    <a:pt x="103435" y="80833"/>
                    <a:pt x="103435" y="80833"/>
                  </a:cubicBezTo>
                  <a:cubicBezTo>
                    <a:pt x="103435" y="79166"/>
                    <a:pt x="103435" y="79166"/>
                    <a:pt x="103435" y="79166"/>
                  </a:cubicBezTo>
                  <a:cubicBezTo>
                    <a:pt x="104171" y="78333"/>
                    <a:pt x="104171" y="78333"/>
                    <a:pt x="104171" y="78333"/>
                  </a:cubicBezTo>
                  <a:cubicBezTo>
                    <a:pt x="104171" y="77500"/>
                    <a:pt x="104171" y="77500"/>
                    <a:pt x="104171" y="77500"/>
                  </a:cubicBezTo>
                  <a:cubicBezTo>
                    <a:pt x="104907" y="79166"/>
                    <a:pt x="104907" y="79166"/>
                    <a:pt x="104907" y="79166"/>
                  </a:cubicBezTo>
                  <a:cubicBezTo>
                    <a:pt x="106748" y="77500"/>
                    <a:pt x="106748" y="77500"/>
                    <a:pt x="106748" y="77500"/>
                  </a:cubicBezTo>
                  <a:cubicBezTo>
                    <a:pt x="108220" y="75833"/>
                    <a:pt x="108220" y="75833"/>
                    <a:pt x="108220" y="75833"/>
                  </a:cubicBezTo>
                  <a:cubicBezTo>
                    <a:pt x="108957" y="75833"/>
                    <a:pt x="108957" y="75833"/>
                    <a:pt x="108957" y="75833"/>
                  </a:cubicBezTo>
                  <a:cubicBezTo>
                    <a:pt x="110061" y="74166"/>
                    <a:pt x="110061" y="74166"/>
                    <a:pt x="110061" y="74166"/>
                  </a:cubicBezTo>
                  <a:cubicBezTo>
                    <a:pt x="110797" y="73333"/>
                    <a:pt x="110797" y="73333"/>
                    <a:pt x="110797" y="73333"/>
                  </a:cubicBezTo>
                  <a:cubicBezTo>
                    <a:pt x="110797" y="72500"/>
                    <a:pt x="110797" y="72500"/>
                    <a:pt x="110797" y="72500"/>
                  </a:cubicBezTo>
                  <a:cubicBezTo>
                    <a:pt x="112269" y="75000"/>
                    <a:pt x="112269" y="75000"/>
                    <a:pt x="112269" y="75000"/>
                  </a:cubicBezTo>
                  <a:cubicBezTo>
                    <a:pt x="113006" y="71666"/>
                    <a:pt x="113006" y="71666"/>
                    <a:pt x="113006" y="71666"/>
                  </a:cubicBezTo>
                  <a:cubicBezTo>
                    <a:pt x="113374" y="67500"/>
                    <a:pt x="113374" y="67500"/>
                    <a:pt x="113374" y="67500"/>
                  </a:cubicBezTo>
                  <a:cubicBezTo>
                    <a:pt x="113742" y="65833"/>
                    <a:pt x="113742" y="65833"/>
                    <a:pt x="113742" y="65833"/>
                  </a:cubicBezTo>
                  <a:cubicBezTo>
                    <a:pt x="114110" y="64166"/>
                    <a:pt x="114110" y="64166"/>
                    <a:pt x="114110" y="64166"/>
                  </a:cubicBezTo>
                  <a:cubicBezTo>
                    <a:pt x="114110" y="64166"/>
                    <a:pt x="113742" y="61666"/>
                    <a:pt x="113374" y="62500"/>
                  </a:cubicBezTo>
                  <a:cubicBezTo>
                    <a:pt x="113006" y="62500"/>
                    <a:pt x="111901" y="63333"/>
                    <a:pt x="111901" y="63333"/>
                  </a:cubicBezTo>
                  <a:cubicBezTo>
                    <a:pt x="111533" y="65000"/>
                    <a:pt x="111533" y="65000"/>
                    <a:pt x="111533" y="65000"/>
                  </a:cubicBezTo>
                  <a:cubicBezTo>
                    <a:pt x="110797" y="65000"/>
                    <a:pt x="110797" y="65000"/>
                    <a:pt x="110797" y="65000"/>
                  </a:cubicBezTo>
                  <a:cubicBezTo>
                    <a:pt x="110061" y="66666"/>
                    <a:pt x="110061" y="66666"/>
                    <a:pt x="110061" y="66666"/>
                  </a:cubicBezTo>
                  <a:cubicBezTo>
                    <a:pt x="108220" y="69166"/>
                    <a:pt x="108220" y="69166"/>
                    <a:pt x="108220" y="69166"/>
                  </a:cubicBezTo>
                  <a:cubicBezTo>
                    <a:pt x="107116" y="69166"/>
                    <a:pt x="107116" y="69166"/>
                    <a:pt x="107116" y="69166"/>
                  </a:cubicBezTo>
                  <a:cubicBezTo>
                    <a:pt x="104171" y="67500"/>
                    <a:pt x="104171" y="67500"/>
                    <a:pt x="104171" y="67500"/>
                  </a:cubicBezTo>
                  <a:cubicBezTo>
                    <a:pt x="104171" y="65833"/>
                    <a:pt x="104171" y="65833"/>
                    <a:pt x="104171" y="65833"/>
                  </a:cubicBezTo>
                  <a:cubicBezTo>
                    <a:pt x="104171" y="64166"/>
                    <a:pt x="104171" y="64166"/>
                    <a:pt x="104171" y="64166"/>
                  </a:cubicBezTo>
                  <a:cubicBezTo>
                    <a:pt x="104539" y="63333"/>
                    <a:pt x="104539" y="63333"/>
                    <a:pt x="104539" y="63333"/>
                  </a:cubicBezTo>
                  <a:cubicBezTo>
                    <a:pt x="105276" y="63333"/>
                    <a:pt x="105276" y="63333"/>
                    <a:pt x="105276" y="63333"/>
                  </a:cubicBezTo>
                  <a:cubicBezTo>
                    <a:pt x="106012" y="64166"/>
                    <a:pt x="106012" y="64166"/>
                    <a:pt x="106012" y="64166"/>
                  </a:cubicBezTo>
                  <a:cubicBezTo>
                    <a:pt x="107852" y="64166"/>
                    <a:pt x="107852" y="64166"/>
                    <a:pt x="107852" y="64166"/>
                  </a:cubicBezTo>
                  <a:cubicBezTo>
                    <a:pt x="108957" y="62500"/>
                    <a:pt x="108957" y="62500"/>
                    <a:pt x="108957" y="62500"/>
                  </a:cubicBezTo>
                  <a:cubicBezTo>
                    <a:pt x="108957" y="60833"/>
                    <a:pt x="108957" y="60833"/>
                    <a:pt x="108957" y="60833"/>
                  </a:cubicBezTo>
                  <a:cubicBezTo>
                    <a:pt x="108588" y="59166"/>
                    <a:pt x="108588" y="59166"/>
                    <a:pt x="108588" y="59166"/>
                  </a:cubicBezTo>
                  <a:cubicBezTo>
                    <a:pt x="108957" y="56666"/>
                    <a:pt x="108957" y="56666"/>
                    <a:pt x="108957" y="56666"/>
                  </a:cubicBezTo>
                  <a:cubicBezTo>
                    <a:pt x="109325" y="56666"/>
                    <a:pt x="109325" y="56666"/>
                    <a:pt x="109325" y="56666"/>
                  </a:cubicBezTo>
                  <a:cubicBezTo>
                    <a:pt x="110061" y="55000"/>
                    <a:pt x="110061" y="55000"/>
                    <a:pt x="110061" y="55000"/>
                  </a:cubicBezTo>
                  <a:cubicBezTo>
                    <a:pt x="110061" y="53333"/>
                    <a:pt x="110061" y="53333"/>
                    <a:pt x="110061" y="53333"/>
                  </a:cubicBezTo>
                  <a:cubicBezTo>
                    <a:pt x="108957" y="53333"/>
                    <a:pt x="108957" y="53333"/>
                    <a:pt x="108957" y="53333"/>
                  </a:cubicBezTo>
                  <a:cubicBezTo>
                    <a:pt x="106748" y="50833"/>
                    <a:pt x="106748" y="50833"/>
                    <a:pt x="106748" y="50833"/>
                  </a:cubicBezTo>
                  <a:cubicBezTo>
                    <a:pt x="104171" y="50000"/>
                    <a:pt x="104171" y="50000"/>
                    <a:pt x="104171" y="50000"/>
                  </a:cubicBezTo>
                  <a:cubicBezTo>
                    <a:pt x="103067" y="48333"/>
                    <a:pt x="103067" y="48333"/>
                    <a:pt x="103067" y="48333"/>
                  </a:cubicBezTo>
                  <a:cubicBezTo>
                    <a:pt x="103067" y="47500"/>
                    <a:pt x="103067" y="47500"/>
                    <a:pt x="103067" y="47500"/>
                  </a:cubicBezTo>
                  <a:cubicBezTo>
                    <a:pt x="104539" y="47500"/>
                    <a:pt x="104539" y="47500"/>
                    <a:pt x="104539" y="47500"/>
                  </a:cubicBezTo>
                  <a:cubicBezTo>
                    <a:pt x="106748" y="47500"/>
                    <a:pt x="106748" y="47500"/>
                    <a:pt x="106748" y="47500"/>
                  </a:cubicBezTo>
                  <a:cubicBezTo>
                    <a:pt x="108220" y="49166"/>
                    <a:pt x="108220" y="49166"/>
                    <a:pt x="108220" y="49166"/>
                  </a:cubicBezTo>
                  <a:cubicBezTo>
                    <a:pt x="108588" y="47500"/>
                    <a:pt x="108588" y="47500"/>
                    <a:pt x="108588" y="47500"/>
                  </a:cubicBezTo>
                  <a:cubicBezTo>
                    <a:pt x="108220" y="45833"/>
                    <a:pt x="108220" y="45833"/>
                    <a:pt x="108220" y="45833"/>
                  </a:cubicBezTo>
                  <a:cubicBezTo>
                    <a:pt x="107852" y="45000"/>
                    <a:pt x="107852" y="45000"/>
                    <a:pt x="107852" y="45000"/>
                  </a:cubicBezTo>
                  <a:cubicBezTo>
                    <a:pt x="107484" y="43333"/>
                    <a:pt x="107484" y="43333"/>
                    <a:pt x="107484" y="43333"/>
                  </a:cubicBezTo>
                  <a:cubicBezTo>
                    <a:pt x="108220" y="42500"/>
                    <a:pt x="108220" y="42500"/>
                    <a:pt x="108220" y="42500"/>
                  </a:cubicBezTo>
                  <a:cubicBezTo>
                    <a:pt x="109325" y="42500"/>
                    <a:pt x="109325" y="42500"/>
                    <a:pt x="109325" y="42500"/>
                  </a:cubicBezTo>
                  <a:cubicBezTo>
                    <a:pt x="109693" y="46666"/>
                    <a:pt x="109693" y="46666"/>
                    <a:pt x="109693" y="46666"/>
                  </a:cubicBezTo>
                  <a:cubicBezTo>
                    <a:pt x="110429" y="48333"/>
                    <a:pt x="110429" y="48333"/>
                    <a:pt x="110429" y="48333"/>
                  </a:cubicBezTo>
                  <a:cubicBezTo>
                    <a:pt x="111533" y="48333"/>
                    <a:pt x="111533" y="48333"/>
                    <a:pt x="111533" y="48333"/>
                  </a:cubicBezTo>
                  <a:cubicBezTo>
                    <a:pt x="111901" y="47500"/>
                    <a:pt x="111901" y="47500"/>
                    <a:pt x="111901" y="47500"/>
                  </a:cubicBezTo>
                  <a:cubicBezTo>
                    <a:pt x="112638" y="48333"/>
                    <a:pt x="112638" y="48333"/>
                    <a:pt x="112638" y="48333"/>
                  </a:cubicBezTo>
                  <a:cubicBezTo>
                    <a:pt x="114110" y="48333"/>
                    <a:pt x="114110" y="48333"/>
                    <a:pt x="114110" y="48333"/>
                  </a:cubicBezTo>
                  <a:cubicBezTo>
                    <a:pt x="116319" y="48333"/>
                    <a:pt x="116319" y="48333"/>
                    <a:pt x="116319" y="48333"/>
                  </a:cubicBezTo>
                  <a:cubicBezTo>
                    <a:pt x="116687" y="47500"/>
                    <a:pt x="116687" y="47500"/>
                    <a:pt x="116687" y="47500"/>
                  </a:cubicBezTo>
                  <a:cubicBezTo>
                    <a:pt x="116687" y="44166"/>
                    <a:pt x="116687" y="44166"/>
                    <a:pt x="116687" y="44166"/>
                  </a:cubicBezTo>
                  <a:cubicBezTo>
                    <a:pt x="117055" y="42500"/>
                    <a:pt x="117055" y="42500"/>
                    <a:pt x="117055" y="42500"/>
                  </a:cubicBezTo>
                  <a:cubicBezTo>
                    <a:pt x="117423" y="40000"/>
                    <a:pt x="117423" y="40000"/>
                    <a:pt x="117423" y="40000"/>
                  </a:cubicBezTo>
                  <a:cubicBezTo>
                    <a:pt x="117423" y="38333"/>
                    <a:pt x="117423" y="38333"/>
                    <a:pt x="117423" y="38333"/>
                  </a:cubicBezTo>
                  <a:cubicBezTo>
                    <a:pt x="117791" y="35000"/>
                    <a:pt x="117791" y="35000"/>
                    <a:pt x="117791" y="35000"/>
                  </a:cubicBezTo>
                  <a:cubicBezTo>
                    <a:pt x="118527" y="35000"/>
                    <a:pt x="118527" y="35000"/>
                    <a:pt x="118527" y="35000"/>
                  </a:cubicBezTo>
                  <a:cubicBezTo>
                    <a:pt x="118895" y="36666"/>
                    <a:pt x="118895" y="36666"/>
                    <a:pt x="118895" y="36666"/>
                  </a:cubicBezTo>
                  <a:cubicBezTo>
                    <a:pt x="119631" y="35000"/>
                    <a:pt x="119631" y="35000"/>
                    <a:pt x="119631" y="35000"/>
                  </a:cubicBezTo>
                  <a:cubicBezTo>
                    <a:pt x="119631" y="32500"/>
                    <a:pt x="119631" y="32500"/>
                    <a:pt x="119631" y="32500"/>
                  </a:cubicBezTo>
                  <a:cubicBezTo>
                    <a:pt x="120000" y="30833"/>
                    <a:pt x="120000" y="30833"/>
                    <a:pt x="120000" y="30833"/>
                  </a:cubicBezTo>
                  <a:lnTo>
                    <a:pt x="119263" y="28333"/>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1" name="Shape 1418">
              <a:extLst>
                <a:ext uri="{FF2B5EF4-FFF2-40B4-BE49-F238E27FC236}">
                  <a16:creationId xmlns:a16="http://schemas.microsoft.com/office/drawing/2014/main" id="{B5661239-3F14-A029-3B6A-8F12BC738E0F}"/>
                </a:ext>
              </a:extLst>
            </p:cNvPr>
            <p:cNvSpPr/>
            <p:nvPr/>
          </p:nvSpPr>
          <p:spPr>
            <a:xfrm>
              <a:off x="7274749" y="2775308"/>
              <a:ext cx="286694" cy="308619"/>
            </a:xfrm>
            <a:custGeom>
              <a:avLst/>
              <a:gdLst/>
              <a:ahLst/>
              <a:cxnLst/>
              <a:rect l="0" t="0" r="0" b="0"/>
              <a:pathLst>
                <a:path w="120000" h="120000" extrusionOk="0">
                  <a:moveTo>
                    <a:pt x="118208" y="71111"/>
                  </a:moveTo>
                  <a:cubicBezTo>
                    <a:pt x="117014" y="70555"/>
                    <a:pt x="117014" y="70555"/>
                    <a:pt x="117014" y="70555"/>
                  </a:cubicBezTo>
                  <a:cubicBezTo>
                    <a:pt x="116417" y="68888"/>
                    <a:pt x="116417" y="68888"/>
                    <a:pt x="116417" y="68888"/>
                  </a:cubicBezTo>
                  <a:cubicBezTo>
                    <a:pt x="116417" y="66666"/>
                    <a:pt x="116417" y="66666"/>
                    <a:pt x="116417" y="66666"/>
                  </a:cubicBezTo>
                  <a:cubicBezTo>
                    <a:pt x="116417" y="66111"/>
                    <a:pt x="116417" y="66111"/>
                    <a:pt x="116417" y="66111"/>
                  </a:cubicBezTo>
                  <a:cubicBezTo>
                    <a:pt x="114029" y="63888"/>
                    <a:pt x="114029" y="63888"/>
                    <a:pt x="114029" y="63888"/>
                  </a:cubicBezTo>
                  <a:cubicBezTo>
                    <a:pt x="113432" y="62222"/>
                    <a:pt x="113432" y="62222"/>
                    <a:pt x="113432" y="62222"/>
                  </a:cubicBezTo>
                  <a:cubicBezTo>
                    <a:pt x="113432" y="61111"/>
                    <a:pt x="113432" y="61111"/>
                    <a:pt x="113432" y="61111"/>
                  </a:cubicBezTo>
                  <a:cubicBezTo>
                    <a:pt x="113432" y="60555"/>
                    <a:pt x="113432" y="60555"/>
                    <a:pt x="113432" y="60555"/>
                  </a:cubicBezTo>
                  <a:cubicBezTo>
                    <a:pt x="111641" y="59444"/>
                    <a:pt x="111641" y="59444"/>
                    <a:pt x="111641" y="59444"/>
                  </a:cubicBezTo>
                  <a:cubicBezTo>
                    <a:pt x="109850" y="58888"/>
                    <a:pt x="109850" y="58888"/>
                    <a:pt x="109850" y="58888"/>
                  </a:cubicBezTo>
                  <a:cubicBezTo>
                    <a:pt x="109253" y="58888"/>
                    <a:pt x="109253" y="58888"/>
                    <a:pt x="109253" y="58888"/>
                  </a:cubicBezTo>
                  <a:cubicBezTo>
                    <a:pt x="108656" y="57777"/>
                    <a:pt x="108656" y="57777"/>
                    <a:pt x="108656" y="57777"/>
                  </a:cubicBezTo>
                  <a:cubicBezTo>
                    <a:pt x="108059" y="56111"/>
                    <a:pt x="108059" y="56111"/>
                    <a:pt x="108059" y="56111"/>
                  </a:cubicBezTo>
                  <a:cubicBezTo>
                    <a:pt x="108059" y="55000"/>
                    <a:pt x="108059" y="55000"/>
                    <a:pt x="108059" y="55000"/>
                  </a:cubicBezTo>
                  <a:cubicBezTo>
                    <a:pt x="106865" y="53333"/>
                    <a:pt x="106865" y="53333"/>
                    <a:pt x="106865" y="53333"/>
                  </a:cubicBezTo>
                  <a:cubicBezTo>
                    <a:pt x="105074" y="50555"/>
                    <a:pt x="105074" y="50555"/>
                    <a:pt x="105074" y="50555"/>
                  </a:cubicBezTo>
                  <a:cubicBezTo>
                    <a:pt x="103880" y="49444"/>
                    <a:pt x="103880" y="49444"/>
                    <a:pt x="103880" y="49444"/>
                  </a:cubicBezTo>
                  <a:cubicBezTo>
                    <a:pt x="102089" y="48333"/>
                    <a:pt x="102089" y="48333"/>
                    <a:pt x="102089" y="48333"/>
                  </a:cubicBezTo>
                  <a:cubicBezTo>
                    <a:pt x="100298" y="46666"/>
                    <a:pt x="100298" y="46666"/>
                    <a:pt x="100298" y="46666"/>
                  </a:cubicBezTo>
                  <a:cubicBezTo>
                    <a:pt x="98507" y="45000"/>
                    <a:pt x="98507" y="45000"/>
                    <a:pt x="98507" y="45000"/>
                  </a:cubicBezTo>
                  <a:cubicBezTo>
                    <a:pt x="94328" y="43333"/>
                    <a:pt x="94328" y="43333"/>
                    <a:pt x="94328" y="43333"/>
                  </a:cubicBezTo>
                  <a:cubicBezTo>
                    <a:pt x="91343" y="39444"/>
                    <a:pt x="91343" y="39444"/>
                    <a:pt x="91343" y="39444"/>
                  </a:cubicBezTo>
                  <a:cubicBezTo>
                    <a:pt x="87761" y="35000"/>
                    <a:pt x="87761" y="35000"/>
                    <a:pt x="87761" y="35000"/>
                  </a:cubicBezTo>
                  <a:cubicBezTo>
                    <a:pt x="84776" y="32777"/>
                    <a:pt x="84776" y="32777"/>
                    <a:pt x="84776" y="32777"/>
                  </a:cubicBezTo>
                  <a:cubicBezTo>
                    <a:pt x="75223" y="25555"/>
                    <a:pt x="75223" y="25555"/>
                    <a:pt x="75223" y="25555"/>
                  </a:cubicBezTo>
                  <a:cubicBezTo>
                    <a:pt x="72238" y="22222"/>
                    <a:pt x="72238" y="22222"/>
                    <a:pt x="72238" y="22222"/>
                  </a:cubicBezTo>
                  <a:cubicBezTo>
                    <a:pt x="69253" y="19444"/>
                    <a:pt x="69253" y="19444"/>
                    <a:pt x="69253" y="19444"/>
                  </a:cubicBezTo>
                  <a:cubicBezTo>
                    <a:pt x="68059" y="17222"/>
                    <a:pt x="68059" y="17222"/>
                    <a:pt x="68059" y="17222"/>
                  </a:cubicBezTo>
                  <a:cubicBezTo>
                    <a:pt x="66268" y="15000"/>
                    <a:pt x="66268" y="15000"/>
                    <a:pt x="66268" y="15000"/>
                  </a:cubicBezTo>
                  <a:cubicBezTo>
                    <a:pt x="64477" y="13333"/>
                    <a:pt x="64477" y="13333"/>
                    <a:pt x="64477" y="13333"/>
                  </a:cubicBezTo>
                  <a:cubicBezTo>
                    <a:pt x="57313" y="10555"/>
                    <a:pt x="57313" y="10555"/>
                    <a:pt x="57313" y="10555"/>
                  </a:cubicBezTo>
                  <a:cubicBezTo>
                    <a:pt x="56119" y="8888"/>
                    <a:pt x="56119" y="8888"/>
                    <a:pt x="56119" y="8888"/>
                  </a:cubicBezTo>
                  <a:cubicBezTo>
                    <a:pt x="54925" y="7777"/>
                    <a:pt x="54925" y="7777"/>
                    <a:pt x="54925" y="7777"/>
                  </a:cubicBezTo>
                  <a:cubicBezTo>
                    <a:pt x="54925" y="6111"/>
                    <a:pt x="54925" y="6111"/>
                    <a:pt x="54925" y="6111"/>
                  </a:cubicBezTo>
                  <a:cubicBezTo>
                    <a:pt x="57910" y="4444"/>
                    <a:pt x="57910" y="4444"/>
                    <a:pt x="57910" y="4444"/>
                  </a:cubicBezTo>
                  <a:cubicBezTo>
                    <a:pt x="60298" y="2777"/>
                    <a:pt x="60298" y="2777"/>
                    <a:pt x="60298" y="2777"/>
                  </a:cubicBezTo>
                  <a:cubicBezTo>
                    <a:pt x="61492" y="2222"/>
                    <a:pt x="61492" y="2222"/>
                    <a:pt x="61492" y="2222"/>
                  </a:cubicBezTo>
                  <a:cubicBezTo>
                    <a:pt x="61492" y="1111"/>
                    <a:pt x="61492" y="1111"/>
                    <a:pt x="61492" y="1111"/>
                  </a:cubicBezTo>
                  <a:cubicBezTo>
                    <a:pt x="62089" y="0"/>
                    <a:pt x="62089" y="0"/>
                    <a:pt x="62089" y="0"/>
                  </a:cubicBezTo>
                  <a:cubicBezTo>
                    <a:pt x="62089" y="0"/>
                    <a:pt x="62089" y="0"/>
                    <a:pt x="62089" y="0"/>
                  </a:cubicBezTo>
                  <a:cubicBezTo>
                    <a:pt x="28656" y="3333"/>
                    <a:pt x="28656" y="3333"/>
                    <a:pt x="28656" y="3333"/>
                  </a:cubicBezTo>
                  <a:cubicBezTo>
                    <a:pt x="28656" y="3333"/>
                    <a:pt x="28656" y="3333"/>
                    <a:pt x="28656" y="3333"/>
                  </a:cubicBezTo>
                  <a:cubicBezTo>
                    <a:pt x="0" y="5555"/>
                    <a:pt x="0" y="5555"/>
                    <a:pt x="0" y="5555"/>
                  </a:cubicBezTo>
                  <a:cubicBezTo>
                    <a:pt x="1791" y="13333"/>
                    <a:pt x="1791" y="13333"/>
                    <a:pt x="1791" y="13333"/>
                  </a:cubicBezTo>
                  <a:cubicBezTo>
                    <a:pt x="6567" y="32222"/>
                    <a:pt x="6567" y="32222"/>
                    <a:pt x="6567" y="32222"/>
                  </a:cubicBezTo>
                  <a:cubicBezTo>
                    <a:pt x="13731" y="54444"/>
                    <a:pt x="13731" y="54444"/>
                    <a:pt x="13731" y="54444"/>
                  </a:cubicBezTo>
                  <a:cubicBezTo>
                    <a:pt x="14925" y="59444"/>
                    <a:pt x="14925" y="59444"/>
                    <a:pt x="14925" y="59444"/>
                  </a:cubicBezTo>
                  <a:cubicBezTo>
                    <a:pt x="19701" y="67777"/>
                    <a:pt x="19701" y="67777"/>
                    <a:pt x="19701" y="67777"/>
                  </a:cubicBezTo>
                  <a:cubicBezTo>
                    <a:pt x="22686" y="71111"/>
                    <a:pt x="22686" y="71111"/>
                    <a:pt x="22686" y="71111"/>
                  </a:cubicBezTo>
                  <a:cubicBezTo>
                    <a:pt x="22686" y="73333"/>
                    <a:pt x="22686" y="73333"/>
                    <a:pt x="22686" y="73333"/>
                  </a:cubicBezTo>
                  <a:cubicBezTo>
                    <a:pt x="23283" y="76111"/>
                    <a:pt x="23283" y="76111"/>
                    <a:pt x="23283" y="76111"/>
                  </a:cubicBezTo>
                  <a:cubicBezTo>
                    <a:pt x="25074" y="77222"/>
                    <a:pt x="25074" y="77222"/>
                    <a:pt x="25074" y="77222"/>
                  </a:cubicBezTo>
                  <a:cubicBezTo>
                    <a:pt x="23880" y="80000"/>
                    <a:pt x="23880" y="80000"/>
                    <a:pt x="23880" y="80000"/>
                  </a:cubicBezTo>
                  <a:cubicBezTo>
                    <a:pt x="20895" y="81666"/>
                    <a:pt x="20895" y="81666"/>
                    <a:pt x="20895" y="81666"/>
                  </a:cubicBezTo>
                  <a:cubicBezTo>
                    <a:pt x="23283" y="83333"/>
                    <a:pt x="23283" y="83333"/>
                    <a:pt x="23283" y="83333"/>
                  </a:cubicBezTo>
                  <a:cubicBezTo>
                    <a:pt x="22686" y="86111"/>
                    <a:pt x="22686" y="86111"/>
                    <a:pt x="22686" y="86111"/>
                  </a:cubicBezTo>
                  <a:cubicBezTo>
                    <a:pt x="20895" y="87222"/>
                    <a:pt x="20895" y="87222"/>
                    <a:pt x="20895" y="87222"/>
                  </a:cubicBezTo>
                  <a:cubicBezTo>
                    <a:pt x="20895" y="90555"/>
                    <a:pt x="20895" y="90555"/>
                    <a:pt x="20895" y="90555"/>
                  </a:cubicBezTo>
                  <a:cubicBezTo>
                    <a:pt x="22089" y="95555"/>
                    <a:pt x="22089" y="95555"/>
                    <a:pt x="22089" y="95555"/>
                  </a:cubicBezTo>
                  <a:cubicBezTo>
                    <a:pt x="23283" y="97777"/>
                    <a:pt x="23283" y="97777"/>
                    <a:pt x="23283" y="97777"/>
                  </a:cubicBezTo>
                  <a:cubicBezTo>
                    <a:pt x="23880" y="101111"/>
                    <a:pt x="23880" y="101111"/>
                    <a:pt x="23880" y="101111"/>
                  </a:cubicBezTo>
                  <a:cubicBezTo>
                    <a:pt x="22686" y="102222"/>
                    <a:pt x="22686" y="102222"/>
                    <a:pt x="22686" y="102222"/>
                  </a:cubicBezTo>
                  <a:cubicBezTo>
                    <a:pt x="22089" y="103333"/>
                    <a:pt x="22089" y="103333"/>
                    <a:pt x="22089" y="103333"/>
                  </a:cubicBezTo>
                  <a:cubicBezTo>
                    <a:pt x="23283" y="105555"/>
                    <a:pt x="23283" y="105555"/>
                    <a:pt x="23283" y="105555"/>
                  </a:cubicBezTo>
                  <a:cubicBezTo>
                    <a:pt x="24477" y="107222"/>
                    <a:pt x="24477" y="107222"/>
                    <a:pt x="24477" y="107222"/>
                  </a:cubicBezTo>
                  <a:cubicBezTo>
                    <a:pt x="26865" y="110555"/>
                    <a:pt x="26865" y="110555"/>
                    <a:pt x="26865" y="110555"/>
                  </a:cubicBezTo>
                  <a:cubicBezTo>
                    <a:pt x="27462" y="111666"/>
                    <a:pt x="27462" y="111666"/>
                    <a:pt x="27462" y="111666"/>
                  </a:cubicBezTo>
                  <a:cubicBezTo>
                    <a:pt x="31044" y="118333"/>
                    <a:pt x="31044" y="118333"/>
                    <a:pt x="31044" y="118333"/>
                  </a:cubicBezTo>
                  <a:cubicBezTo>
                    <a:pt x="95522" y="115000"/>
                    <a:pt x="95522" y="115000"/>
                    <a:pt x="95522" y="115000"/>
                  </a:cubicBezTo>
                  <a:cubicBezTo>
                    <a:pt x="96119" y="120000"/>
                    <a:pt x="96119" y="120000"/>
                    <a:pt x="96119" y="120000"/>
                  </a:cubicBezTo>
                  <a:cubicBezTo>
                    <a:pt x="100895" y="120000"/>
                    <a:pt x="100895" y="120000"/>
                    <a:pt x="100895" y="120000"/>
                  </a:cubicBezTo>
                  <a:cubicBezTo>
                    <a:pt x="99104" y="107222"/>
                    <a:pt x="99104" y="107222"/>
                    <a:pt x="99104" y="107222"/>
                  </a:cubicBezTo>
                  <a:cubicBezTo>
                    <a:pt x="99104" y="107222"/>
                    <a:pt x="99104" y="107222"/>
                    <a:pt x="99104" y="107222"/>
                  </a:cubicBezTo>
                  <a:cubicBezTo>
                    <a:pt x="103283" y="107777"/>
                    <a:pt x="103283" y="107777"/>
                    <a:pt x="103283" y="107777"/>
                  </a:cubicBezTo>
                  <a:cubicBezTo>
                    <a:pt x="109253" y="108888"/>
                    <a:pt x="109253" y="108888"/>
                    <a:pt x="109253" y="108888"/>
                  </a:cubicBezTo>
                  <a:cubicBezTo>
                    <a:pt x="109850" y="107222"/>
                    <a:pt x="109850" y="107222"/>
                    <a:pt x="109850" y="107222"/>
                  </a:cubicBezTo>
                  <a:cubicBezTo>
                    <a:pt x="109850" y="107222"/>
                    <a:pt x="110447" y="105000"/>
                    <a:pt x="110447" y="105000"/>
                  </a:cubicBezTo>
                  <a:cubicBezTo>
                    <a:pt x="110447" y="104444"/>
                    <a:pt x="109850" y="104444"/>
                    <a:pt x="109850" y="104444"/>
                  </a:cubicBezTo>
                  <a:cubicBezTo>
                    <a:pt x="109850" y="104444"/>
                    <a:pt x="109253" y="103888"/>
                    <a:pt x="108656" y="103888"/>
                  </a:cubicBezTo>
                  <a:cubicBezTo>
                    <a:pt x="108059" y="103333"/>
                    <a:pt x="108059" y="102777"/>
                    <a:pt x="107462" y="102222"/>
                  </a:cubicBezTo>
                  <a:cubicBezTo>
                    <a:pt x="106865" y="101666"/>
                    <a:pt x="107462" y="101666"/>
                    <a:pt x="107462" y="101666"/>
                  </a:cubicBezTo>
                  <a:cubicBezTo>
                    <a:pt x="108656" y="101666"/>
                    <a:pt x="108656" y="101666"/>
                    <a:pt x="108656" y="101666"/>
                  </a:cubicBezTo>
                  <a:cubicBezTo>
                    <a:pt x="110447" y="101666"/>
                    <a:pt x="110447" y="101666"/>
                    <a:pt x="110447" y="101666"/>
                  </a:cubicBezTo>
                  <a:cubicBezTo>
                    <a:pt x="110447" y="101666"/>
                    <a:pt x="109850" y="100555"/>
                    <a:pt x="109850" y="99444"/>
                  </a:cubicBezTo>
                  <a:cubicBezTo>
                    <a:pt x="109253" y="98333"/>
                    <a:pt x="109253" y="98333"/>
                    <a:pt x="109253" y="98333"/>
                  </a:cubicBezTo>
                  <a:cubicBezTo>
                    <a:pt x="111044" y="97777"/>
                    <a:pt x="111044" y="97777"/>
                    <a:pt x="111044" y="97777"/>
                  </a:cubicBezTo>
                  <a:cubicBezTo>
                    <a:pt x="112238" y="96666"/>
                    <a:pt x="112238" y="96666"/>
                    <a:pt x="112238" y="96666"/>
                  </a:cubicBezTo>
                  <a:cubicBezTo>
                    <a:pt x="113432" y="93888"/>
                    <a:pt x="113432" y="93888"/>
                    <a:pt x="113432" y="93888"/>
                  </a:cubicBezTo>
                  <a:cubicBezTo>
                    <a:pt x="111641" y="93333"/>
                    <a:pt x="111641" y="93333"/>
                    <a:pt x="111641" y="93333"/>
                  </a:cubicBezTo>
                  <a:cubicBezTo>
                    <a:pt x="111641" y="93333"/>
                    <a:pt x="111641" y="92777"/>
                    <a:pt x="111641" y="92777"/>
                  </a:cubicBezTo>
                  <a:cubicBezTo>
                    <a:pt x="111641" y="92222"/>
                    <a:pt x="112238" y="92222"/>
                    <a:pt x="112238" y="91666"/>
                  </a:cubicBezTo>
                  <a:cubicBezTo>
                    <a:pt x="112238" y="91666"/>
                    <a:pt x="112835" y="91111"/>
                    <a:pt x="112835" y="91111"/>
                  </a:cubicBezTo>
                  <a:cubicBezTo>
                    <a:pt x="112835" y="89444"/>
                    <a:pt x="112835" y="89444"/>
                    <a:pt x="112835" y="89444"/>
                  </a:cubicBezTo>
                  <a:cubicBezTo>
                    <a:pt x="112835" y="85555"/>
                    <a:pt x="112835" y="85555"/>
                    <a:pt x="112835" y="85555"/>
                  </a:cubicBezTo>
                  <a:cubicBezTo>
                    <a:pt x="112835" y="83888"/>
                    <a:pt x="112835" y="83888"/>
                    <a:pt x="112835" y="83888"/>
                  </a:cubicBezTo>
                  <a:cubicBezTo>
                    <a:pt x="112835" y="83888"/>
                    <a:pt x="114029" y="83888"/>
                    <a:pt x="114626" y="83888"/>
                  </a:cubicBezTo>
                  <a:cubicBezTo>
                    <a:pt x="114626" y="83888"/>
                    <a:pt x="115820" y="84444"/>
                    <a:pt x="115820" y="84444"/>
                  </a:cubicBezTo>
                  <a:cubicBezTo>
                    <a:pt x="115820" y="84444"/>
                    <a:pt x="116417" y="83888"/>
                    <a:pt x="116417" y="83333"/>
                  </a:cubicBezTo>
                  <a:cubicBezTo>
                    <a:pt x="116417" y="83333"/>
                    <a:pt x="116417" y="83333"/>
                    <a:pt x="115223" y="82777"/>
                  </a:cubicBezTo>
                  <a:cubicBezTo>
                    <a:pt x="114626" y="82222"/>
                    <a:pt x="113432" y="81666"/>
                    <a:pt x="113432" y="81666"/>
                  </a:cubicBezTo>
                  <a:cubicBezTo>
                    <a:pt x="113432" y="81111"/>
                    <a:pt x="112835" y="80000"/>
                    <a:pt x="112835" y="80000"/>
                  </a:cubicBezTo>
                  <a:cubicBezTo>
                    <a:pt x="114029" y="80000"/>
                    <a:pt x="114029" y="80000"/>
                    <a:pt x="114029" y="80000"/>
                  </a:cubicBezTo>
                  <a:cubicBezTo>
                    <a:pt x="117014" y="80000"/>
                    <a:pt x="117014" y="80000"/>
                    <a:pt x="117014" y="80000"/>
                  </a:cubicBezTo>
                  <a:cubicBezTo>
                    <a:pt x="117611" y="78333"/>
                    <a:pt x="117611" y="78333"/>
                    <a:pt x="117611" y="78333"/>
                  </a:cubicBezTo>
                  <a:cubicBezTo>
                    <a:pt x="117611" y="78333"/>
                    <a:pt x="115223" y="78333"/>
                    <a:pt x="115223" y="78333"/>
                  </a:cubicBezTo>
                  <a:cubicBezTo>
                    <a:pt x="115223" y="78333"/>
                    <a:pt x="114029" y="77222"/>
                    <a:pt x="114029" y="77222"/>
                  </a:cubicBezTo>
                  <a:cubicBezTo>
                    <a:pt x="114626" y="76111"/>
                    <a:pt x="114626" y="76111"/>
                    <a:pt x="114626" y="76111"/>
                  </a:cubicBezTo>
                  <a:cubicBezTo>
                    <a:pt x="115223" y="76666"/>
                    <a:pt x="115223" y="76666"/>
                    <a:pt x="115223" y="76666"/>
                  </a:cubicBezTo>
                  <a:cubicBezTo>
                    <a:pt x="117611" y="76666"/>
                    <a:pt x="117611" y="76666"/>
                    <a:pt x="117611" y="76666"/>
                  </a:cubicBezTo>
                  <a:cubicBezTo>
                    <a:pt x="118805" y="76111"/>
                    <a:pt x="118805" y="76111"/>
                    <a:pt x="118805" y="76111"/>
                  </a:cubicBezTo>
                  <a:cubicBezTo>
                    <a:pt x="118805" y="74444"/>
                    <a:pt x="118805" y="74444"/>
                    <a:pt x="118805" y="74444"/>
                  </a:cubicBezTo>
                  <a:cubicBezTo>
                    <a:pt x="118805" y="73333"/>
                    <a:pt x="118805" y="73333"/>
                    <a:pt x="118805" y="73333"/>
                  </a:cubicBezTo>
                  <a:cubicBezTo>
                    <a:pt x="120000" y="72222"/>
                    <a:pt x="120000" y="72222"/>
                    <a:pt x="120000" y="72222"/>
                  </a:cubicBezTo>
                  <a:cubicBezTo>
                    <a:pt x="119402" y="71666"/>
                    <a:pt x="119402" y="71666"/>
                    <a:pt x="119402" y="71666"/>
                  </a:cubicBezTo>
                  <a:lnTo>
                    <a:pt x="118208" y="71111"/>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9F9EA2"/>
                </a:solidFill>
                <a:latin typeface="Arial" panose="020B0604020202020204" pitchFamily="34" charset="0"/>
                <a:ea typeface="Source Sans Pro"/>
                <a:cs typeface="Arial" panose="020B0604020202020204" pitchFamily="34" charset="0"/>
                <a:sym typeface="Source Sans Pro"/>
              </a:endParaRPr>
            </a:p>
          </p:txBody>
        </p:sp>
        <p:sp>
          <p:nvSpPr>
            <p:cNvPr id="42" name="Shape 1419">
              <a:extLst>
                <a:ext uri="{FF2B5EF4-FFF2-40B4-BE49-F238E27FC236}">
                  <a16:creationId xmlns:a16="http://schemas.microsoft.com/office/drawing/2014/main" id="{CCA8CBD4-3D06-15D0-1E1C-279EB3D961DF}"/>
                </a:ext>
              </a:extLst>
            </p:cNvPr>
            <p:cNvSpPr/>
            <p:nvPr/>
          </p:nvSpPr>
          <p:spPr>
            <a:xfrm>
              <a:off x="7369189" y="2432959"/>
              <a:ext cx="418238" cy="234415"/>
            </a:xfrm>
            <a:custGeom>
              <a:avLst/>
              <a:gdLst/>
              <a:ahLst/>
              <a:cxnLst/>
              <a:rect l="0" t="0" r="0" b="0"/>
              <a:pathLst>
                <a:path w="120000" h="120000" extrusionOk="0">
                  <a:moveTo>
                    <a:pt x="56129" y="109640"/>
                  </a:moveTo>
                  <a:lnTo>
                    <a:pt x="81774" y="101870"/>
                  </a:lnTo>
                  <a:lnTo>
                    <a:pt x="117580" y="88920"/>
                  </a:lnTo>
                  <a:lnTo>
                    <a:pt x="120000" y="87194"/>
                  </a:lnTo>
                  <a:lnTo>
                    <a:pt x="120000" y="84604"/>
                  </a:lnTo>
                  <a:lnTo>
                    <a:pt x="119032" y="80287"/>
                  </a:lnTo>
                  <a:lnTo>
                    <a:pt x="117580" y="76834"/>
                  </a:lnTo>
                  <a:lnTo>
                    <a:pt x="115645" y="74244"/>
                  </a:lnTo>
                  <a:lnTo>
                    <a:pt x="114677" y="74244"/>
                  </a:lnTo>
                  <a:lnTo>
                    <a:pt x="112258" y="71654"/>
                  </a:lnTo>
                  <a:lnTo>
                    <a:pt x="111774" y="69064"/>
                  </a:lnTo>
                  <a:lnTo>
                    <a:pt x="110322" y="67338"/>
                  </a:lnTo>
                  <a:lnTo>
                    <a:pt x="109354" y="63884"/>
                  </a:lnTo>
                  <a:lnTo>
                    <a:pt x="108387" y="62158"/>
                  </a:lnTo>
                  <a:lnTo>
                    <a:pt x="108387" y="60431"/>
                  </a:lnTo>
                  <a:lnTo>
                    <a:pt x="109354" y="58705"/>
                  </a:lnTo>
                  <a:lnTo>
                    <a:pt x="111290" y="60431"/>
                  </a:lnTo>
                  <a:lnTo>
                    <a:pt x="110322" y="57841"/>
                  </a:lnTo>
                  <a:lnTo>
                    <a:pt x="109354" y="55251"/>
                  </a:lnTo>
                  <a:lnTo>
                    <a:pt x="108387" y="54388"/>
                  </a:lnTo>
                  <a:lnTo>
                    <a:pt x="104032" y="51798"/>
                  </a:lnTo>
                  <a:lnTo>
                    <a:pt x="102096" y="46618"/>
                  </a:lnTo>
                  <a:lnTo>
                    <a:pt x="102096" y="45755"/>
                  </a:lnTo>
                  <a:lnTo>
                    <a:pt x="104032" y="47482"/>
                  </a:lnTo>
                  <a:lnTo>
                    <a:pt x="106451" y="48345"/>
                  </a:lnTo>
                  <a:lnTo>
                    <a:pt x="106935" y="50935"/>
                  </a:lnTo>
                  <a:lnTo>
                    <a:pt x="109838" y="51798"/>
                  </a:lnTo>
                  <a:lnTo>
                    <a:pt x="108870" y="48345"/>
                  </a:lnTo>
                  <a:lnTo>
                    <a:pt x="108870" y="44028"/>
                  </a:lnTo>
                  <a:lnTo>
                    <a:pt x="108870" y="41438"/>
                  </a:lnTo>
                  <a:lnTo>
                    <a:pt x="106935" y="42302"/>
                  </a:lnTo>
                  <a:lnTo>
                    <a:pt x="104032" y="38848"/>
                  </a:lnTo>
                  <a:lnTo>
                    <a:pt x="102580" y="35395"/>
                  </a:lnTo>
                  <a:lnTo>
                    <a:pt x="102096" y="35395"/>
                  </a:lnTo>
                  <a:lnTo>
                    <a:pt x="101612" y="37122"/>
                  </a:lnTo>
                  <a:lnTo>
                    <a:pt x="100161" y="37122"/>
                  </a:lnTo>
                  <a:lnTo>
                    <a:pt x="98225" y="33669"/>
                  </a:lnTo>
                  <a:lnTo>
                    <a:pt x="96290" y="31942"/>
                  </a:lnTo>
                  <a:lnTo>
                    <a:pt x="94354" y="31079"/>
                  </a:lnTo>
                  <a:lnTo>
                    <a:pt x="93387" y="31942"/>
                  </a:lnTo>
                  <a:lnTo>
                    <a:pt x="91935" y="32805"/>
                  </a:lnTo>
                  <a:lnTo>
                    <a:pt x="90967" y="31079"/>
                  </a:lnTo>
                  <a:lnTo>
                    <a:pt x="90967" y="21582"/>
                  </a:lnTo>
                  <a:lnTo>
                    <a:pt x="92419" y="20719"/>
                  </a:lnTo>
                  <a:lnTo>
                    <a:pt x="93387" y="18129"/>
                  </a:lnTo>
                  <a:lnTo>
                    <a:pt x="92903" y="14676"/>
                  </a:lnTo>
                  <a:lnTo>
                    <a:pt x="90967" y="12086"/>
                  </a:lnTo>
                  <a:lnTo>
                    <a:pt x="88548" y="8633"/>
                  </a:lnTo>
                  <a:lnTo>
                    <a:pt x="83709" y="3453"/>
                  </a:lnTo>
                  <a:lnTo>
                    <a:pt x="82741" y="4316"/>
                  </a:lnTo>
                  <a:lnTo>
                    <a:pt x="81290" y="6906"/>
                  </a:lnTo>
                  <a:lnTo>
                    <a:pt x="80322" y="6906"/>
                  </a:lnTo>
                  <a:lnTo>
                    <a:pt x="77419" y="4316"/>
                  </a:lnTo>
                  <a:lnTo>
                    <a:pt x="73064" y="0"/>
                  </a:lnTo>
                  <a:lnTo>
                    <a:pt x="73064" y="6906"/>
                  </a:lnTo>
                  <a:lnTo>
                    <a:pt x="72096" y="12949"/>
                  </a:lnTo>
                  <a:lnTo>
                    <a:pt x="71129" y="15539"/>
                  </a:lnTo>
                  <a:lnTo>
                    <a:pt x="69677" y="18129"/>
                  </a:lnTo>
                  <a:lnTo>
                    <a:pt x="67258" y="25899"/>
                  </a:lnTo>
                  <a:lnTo>
                    <a:pt x="66774" y="24172"/>
                  </a:lnTo>
                  <a:lnTo>
                    <a:pt x="65322" y="24172"/>
                  </a:lnTo>
                  <a:lnTo>
                    <a:pt x="64838" y="24172"/>
                  </a:lnTo>
                  <a:lnTo>
                    <a:pt x="64354" y="27625"/>
                  </a:lnTo>
                  <a:lnTo>
                    <a:pt x="63387" y="31079"/>
                  </a:lnTo>
                  <a:lnTo>
                    <a:pt x="61935" y="37985"/>
                  </a:lnTo>
                  <a:lnTo>
                    <a:pt x="61451" y="39712"/>
                  </a:lnTo>
                  <a:lnTo>
                    <a:pt x="60483" y="38848"/>
                  </a:lnTo>
                  <a:lnTo>
                    <a:pt x="58064" y="37122"/>
                  </a:lnTo>
                  <a:lnTo>
                    <a:pt x="56129" y="35395"/>
                  </a:lnTo>
                  <a:lnTo>
                    <a:pt x="55645" y="41438"/>
                  </a:lnTo>
                  <a:lnTo>
                    <a:pt x="54193" y="51798"/>
                  </a:lnTo>
                  <a:lnTo>
                    <a:pt x="52741" y="58705"/>
                  </a:lnTo>
                  <a:lnTo>
                    <a:pt x="50322" y="63021"/>
                  </a:lnTo>
                  <a:lnTo>
                    <a:pt x="49838" y="67338"/>
                  </a:lnTo>
                  <a:lnTo>
                    <a:pt x="50322" y="74244"/>
                  </a:lnTo>
                  <a:lnTo>
                    <a:pt x="48387" y="76834"/>
                  </a:lnTo>
                  <a:lnTo>
                    <a:pt x="43064" y="82014"/>
                  </a:lnTo>
                  <a:lnTo>
                    <a:pt x="39677" y="87194"/>
                  </a:lnTo>
                  <a:lnTo>
                    <a:pt x="35322" y="88920"/>
                  </a:lnTo>
                  <a:lnTo>
                    <a:pt x="33387" y="86330"/>
                  </a:lnTo>
                  <a:lnTo>
                    <a:pt x="30483" y="92374"/>
                  </a:lnTo>
                  <a:lnTo>
                    <a:pt x="29516" y="92374"/>
                  </a:lnTo>
                  <a:lnTo>
                    <a:pt x="27096" y="90647"/>
                  </a:lnTo>
                  <a:lnTo>
                    <a:pt x="24193" y="86330"/>
                  </a:lnTo>
                  <a:lnTo>
                    <a:pt x="23709" y="83741"/>
                  </a:lnTo>
                  <a:lnTo>
                    <a:pt x="22258" y="83741"/>
                  </a:lnTo>
                  <a:lnTo>
                    <a:pt x="21774" y="85467"/>
                  </a:lnTo>
                  <a:lnTo>
                    <a:pt x="20806" y="88920"/>
                  </a:lnTo>
                  <a:lnTo>
                    <a:pt x="18870" y="94100"/>
                  </a:lnTo>
                  <a:lnTo>
                    <a:pt x="13548" y="97553"/>
                  </a:lnTo>
                  <a:lnTo>
                    <a:pt x="12096" y="101870"/>
                  </a:lnTo>
                  <a:lnTo>
                    <a:pt x="10645" y="109640"/>
                  </a:lnTo>
                  <a:lnTo>
                    <a:pt x="8709" y="110503"/>
                  </a:lnTo>
                  <a:lnTo>
                    <a:pt x="7258" y="112230"/>
                  </a:lnTo>
                  <a:lnTo>
                    <a:pt x="4838" y="114820"/>
                  </a:lnTo>
                  <a:lnTo>
                    <a:pt x="2903" y="117410"/>
                  </a:lnTo>
                  <a:lnTo>
                    <a:pt x="0" y="120000"/>
                  </a:lnTo>
                  <a:lnTo>
                    <a:pt x="30967" y="114820"/>
                  </a:lnTo>
                  <a:lnTo>
                    <a:pt x="56129" y="10964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3" name="Shape 1420">
              <a:extLst>
                <a:ext uri="{FF2B5EF4-FFF2-40B4-BE49-F238E27FC236}">
                  <a16:creationId xmlns:a16="http://schemas.microsoft.com/office/drawing/2014/main" id="{CB716148-57B9-E9AB-1A6E-74745EF2E7AC}"/>
                </a:ext>
              </a:extLst>
            </p:cNvPr>
            <p:cNvSpPr/>
            <p:nvPr/>
          </p:nvSpPr>
          <p:spPr>
            <a:xfrm>
              <a:off x="7406290" y="2750010"/>
              <a:ext cx="269831" cy="209119"/>
            </a:xfrm>
            <a:custGeom>
              <a:avLst/>
              <a:gdLst/>
              <a:ahLst/>
              <a:cxnLst/>
              <a:rect l="0" t="0" r="0" b="0"/>
              <a:pathLst>
                <a:path w="120000" h="120000" extrusionOk="0">
                  <a:moveTo>
                    <a:pt x="62222" y="11428"/>
                  </a:moveTo>
                  <a:cubicBezTo>
                    <a:pt x="59682" y="3265"/>
                    <a:pt x="59682" y="3265"/>
                    <a:pt x="59682" y="3265"/>
                  </a:cubicBezTo>
                  <a:cubicBezTo>
                    <a:pt x="55873" y="816"/>
                    <a:pt x="55873" y="816"/>
                    <a:pt x="55873" y="816"/>
                  </a:cubicBezTo>
                  <a:cubicBezTo>
                    <a:pt x="50158" y="0"/>
                    <a:pt x="50158" y="0"/>
                    <a:pt x="50158" y="0"/>
                  </a:cubicBezTo>
                  <a:cubicBezTo>
                    <a:pt x="45714" y="816"/>
                    <a:pt x="45714" y="816"/>
                    <a:pt x="45714" y="816"/>
                  </a:cubicBezTo>
                  <a:cubicBezTo>
                    <a:pt x="42539" y="3265"/>
                    <a:pt x="42539" y="3265"/>
                    <a:pt x="42539" y="3265"/>
                  </a:cubicBezTo>
                  <a:cubicBezTo>
                    <a:pt x="40634" y="4081"/>
                    <a:pt x="40634" y="4081"/>
                    <a:pt x="40634" y="4081"/>
                  </a:cubicBezTo>
                  <a:cubicBezTo>
                    <a:pt x="36825" y="4897"/>
                    <a:pt x="36825" y="4897"/>
                    <a:pt x="36825" y="4897"/>
                  </a:cubicBezTo>
                  <a:cubicBezTo>
                    <a:pt x="29206" y="3265"/>
                    <a:pt x="29206" y="3265"/>
                    <a:pt x="29206" y="3265"/>
                  </a:cubicBezTo>
                  <a:cubicBezTo>
                    <a:pt x="24761" y="3265"/>
                    <a:pt x="24761" y="3265"/>
                    <a:pt x="24761" y="3265"/>
                  </a:cubicBezTo>
                  <a:cubicBezTo>
                    <a:pt x="19682" y="4081"/>
                    <a:pt x="19682" y="4081"/>
                    <a:pt x="19682" y="4081"/>
                  </a:cubicBezTo>
                  <a:cubicBezTo>
                    <a:pt x="16507" y="5714"/>
                    <a:pt x="16507" y="5714"/>
                    <a:pt x="16507" y="5714"/>
                  </a:cubicBezTo>
                  <a:cubicBezTo>
                    <a:pt x="7619" y="14693"/>
                    <a:pt x="7619" y="14693"/>
                    <a:pt x="7619" y="14693"/>
                  </a:cubicBezTo>
                  <a:cubicBezTo>
                    <a:pt x="7619" y="14693"/>
                    <a:pt x="7619" y="14693"/>
                    <a:pt x="7619" y="14693"/>
                  </a:cubicBezTo>
                  <a:cubicBezTo>
                    <a:pt x="6984" y="16326"/>
                    <a:pt x="6984" y="16326"/>
                    <a:pt x="6984" y="16326"/>
                  </a:cubicBezTo>
                  <a:cubicBezTo>
                    <a:pt x="6984" y="17959"/>
                    <a:pt x="6984" y="17959"/>
                    <a:pt x="6984" y="17959"/>
                  </a:cubicBezTo>
                  <a:cubicBezTo>
                    <a:pt x="5714" y="18775"/>
                    <a:pt x="5714" y="18775"/>
                    <a:pt x="5714" y="18775"/>
                  </a:cubicBezTo>
                  <a:cubicBezTo>
                    <a:pt x="3174" y="21224"/>
                    <a:pt x="3174" y="21224"/>
                    <a:pt x="3174" y="21224"/>
                  </a:cubicBezTo>
                  <a:cubicBezTo>
                    <a:pt x="0" y="23673"/>
                    <a:pt x="0" y="23673"/>
                    <a:pt x="0" y="23673"/>
                  </a:cubicBezTo>
                  <a:cubicBezTo>
                    <a:pt x="0" y="26122"/>
                    <a:pt x="0" y="26122"/>
                    <a:pt x="0" y="26122"/>
                  </a:cubicBezTo>
                  <a:cubicBezTo>
                    <a:pt x="1269" y="27755"/>
                    <a:pt x="1269" y="27755"/>
                    <a:pt x="1269" y="27755"/>
                  </a:cubicBezTo>
                  <a:cubicBezTo>
                    <a:pt x="2539" y="30204"/>
                    <a:pt x="2539" y="30204"/>
                    <a:pt x="2539" y="30204"/>
                  </a:cubicBezTo>
                  <a:cubicBezTo>
                    <a:pt x="10158" y="34285"/>
                    <a:pt x="10158" y="34285"/>
                    <a:pt x="10158" y="34285"/>
                  </a:cubicBezTo>
                  <a:cubicBezTo>
                    <a:pt x="12063" y="36734"/>
                    <a:pt x="12063" y="36734"/>
                    <a:pt x="12063" y="36734"/>
                  </a:cubicBezTo>
                  <a:cubicBezTo>
                    <a:pt x="13968" y="40000"/>
                    <a:pt x="13968" y="40000"/>
                    <a:pt x="13968" y="40000"/>
                  </a:cubicBezTo>
                  <a:cubicBezTo>
                    <a:pt x="15238" y="43265"/>
                    <a:pt x="15238" y="43265"/>
                    <a:pt x="15238" y="43265"/>
                  </a:cubicBezTo>
                  <a:cubicBezTo>
                    <a:pt x="18412" y="47346"/>
                    <a:pt x="18412" y="47346"/>
                    <a:pt x="18412" y="47346"/>
                  </a:cubicBezTo>
                  <a:cubicBezTo>
                    <a:pt x="21587" y="52244"/>
                    <a:pt x="21587" y="52244"/>
                    <a:pt x="21587" y="52244"/>
                  </a:cubicBezTo>
                  <a:cubicBezTo>
                    <a:pt x="31746" y="62857"/>
                    <a:pt x="31746" y="62857"/>
                    <a:pt x="31746" y="62857"/>
                  </a:cubicBezTo>
                  <a:cubicBezTo>
                    <a:pt x="34920" y="66122"/>
                    <a:pt x="34920" y="66122"/>
                    <a:pt x="34920" y="66122"/>
                  </a:cubicBezTo>
                  <a:cubicBezTo>
                    <a:pt x="38730" y="72653"/>
                    <a:pt x="38730" y="72653"/>
                    <a:pt x="38730" y="72653"/>
                  </a:cubicBezTo>
                  <a:cubicBezTo>
                    <a:pt x="41904" y="78367"/>
                    <a:pt x="41904" y="78367"/>
                    <a:pt x="41904" y="78367"/>
                  </a:cubicBezTo>
                  <a:cubicBezTo>
                    <a:pt x="46349" y="80816"/>
                    <a:pt x="46349" y="80816"/>
                    <a:pt x="46349" y="80816"/>
                  </a:cubicBezTo>
                  <a:cubicBezTo>
                    <a:pt x="48253" y="83265"/>
                    <a:pt x="48253" y="83265"/>
                    <a:pt x="48253" y="83265"/>
                  </a:cubicBezTo>
                  <a:cubicBezTo>
                    <a:pt x="50158" y="85714"/>
                    <a:pt x="50158" y="85714"/>
                    <a:pt x="50158" y="85714"/>
                  </a:cubicBezTo>
                  <a:cubicBezTo>
                    <a:pt x="52063" y="87346"/>
                    <a:pt x="52063" y="87346"/>
                    <a:pt x="52063" y="87346"/>
                  </a:cubicBezTo>
                  <a:cubicBezTo>
                    <a:pt x="53333" y="88979"/>
                    <a:pt x="53333" y="88979"/>
                    <a:pt x="53333" y="88979"/>
                  </a:cubicBezTo>
                  <a:cubicBezTo>
                    <a:pt x="55238" y="93061"/>
                    <a:pt x="55238" y="93061"/>
                    <a:pt x="55238" y="93061"/>
                  </a:cubicBezTo>
                  <a:cubicBezTo>
                    <a:pt x="56507" y="95510"/>
                    <a:pt x="56507" y="95510"/>
                    <a:pt x="56507" y="95510"/>
                  </a:cubicBezTo>
                  <a:cubicBezTo>
                    <a:pt x="56507" y="97142"/>
                    <a:pt x="56507" y="97142"/>
                    <a:pt x="56507" y="97142"/>
                  </a:cubicBezTo>
                  <a:cubicBezTo>
                    <a:pt x="57142" y="99591"/>
                    <a:pt x="57142" y="99591"/>
                    <a:pt x="57142" y="99591"/>
                  </a:cubicBezTo>
                  <a:cubicBezTo>
                    <a:pt x="57777" y="101224"/>
                    <a:pt x="57777" y="101224"/>
                    <a:pt x="57777" y="101224"/>
                  </a:cubicBezTo>
                  <a:cubicBezTo>
                    <a:pt x="58412" y="101224"/>
                    <a:pt x="58412" y="101224"/>
                    <a:pt x="58412" y="101224"/>
                  </a:cubicBezTo>
                  <a:cubicBezTo>
                    <a:pt x="60317" y="102040"/>
                    <a:pt x="60317" y="102040"/>
                    <a:pt x="60317" y="102040"/>
                  </a:cubicBezTo>
                  <a:cubicBezTo>
                    <a:pt x="62222" y="103673"/>
                    <a:pt x="62222" y="103673"/>
                    <a:pt x="62222" y="103673"/>
                  </a:cubicBezTo>
                  <a:cubicBezTo>
                    <a:pt x="62222" y="104489"/>
                    <a:pt x="62222" y="104489"/>
                    <a:pt x="62222" y="104489"/>
                  </a:cubicBezTo>
                  <a:cubicBezTo>
                    <a:pt x="62222" y="106122"/>
                    <a:pt x="62222" y="106122"/>
                    <a:pt x="62222" y="106122"/>
                  </a:cubicBezTo>
                  <a:cubicBezTo>
                    <a:pt x="62857" y="108571"/>
                    <a:pt x="62857" y="108571"/>
                    <a:pt x="62857" y="108571"/>
                  </a:cubicBezTo>
                  <a:cubicBezTo>
                    <a:pt x="65396" y="111836"/>
                    <a:pt x="65396" y="111836"/>
                    <a:pt x="65396" y="111836"/>
                  </a:cubicBezTo>
                  <a:cubicBezTo>
                    <a:pt x="65396" y="112653"/>
                    <a:pt x="65396" y="112653"/>
                    <a:pt x="65396" y="112653"/>
                  </a:cubicBezTo>
                  <a:cubicBezTo>
                    <a:pt x="65396" y="115918"/>
                    <a:pt x="65396" y="115918"/>
                    <a:pt x="65396" y="115918"/>
                  </a:cubicBezTo>
                  <a:cubicBezTo>
                    <a:pt x="66031" y="118367"/>
                    <a:pt x="66031" y="118367"/>
                    <a:pt x="66031" y="118367"/>
                  </a:cubicBezTo>
                  <a:cubicBezTo>
                    <a:pt x="67301" y="119183"/>
                    <a:pt x="67301" y="119183"/>
                    <a:pt x="67301" y="119183"/>
                  </a:cubicBezTo>
                  <a:cubicBezTo>
                    <a:pt x="68571" y="120000"/>
                    <a:pt x="68571" y="120000"/>
                    <a:pt x="68571" y="120000"/>
                  </a:cubicBezTo>
                  <a:cubicBezTo>
                    <a:pt x="68571" y="115102"/>
                    <a:pt x="68571" y="115102"/>
                    <a:pt x="68571" y="115102"/>
                  </a:cubicBezTo>
                  <a:cubicBezTo>
                    <a:pt x="69841" y="114285"/>
                    <a:pt x="69841" y="114285"/>
                    <a:pt x="69841" y="114285"/>
                  </a:cubicBezTo>
                  <a:cubicBezTo>
                    <a:pt x="73015" y="114285"/>
                    <a:pt x="73015" y="114285"/>
                    <a:pt x="73015" y="114285"/>
                  </a:cubicBezTo>
                  <a:cubicBezTo>
                    <a:pt x="73650" y="114285"/>
                    <a:pt x="73650" y="114285"/>
                    <a:pt x="73650" y="114285"/>
                  </a:cubicBezTo>
                  <a:cubicBezTo>
                    <a:pt x="73650" y="114285"/>
                    <a:pt x="74920" y="113469"/>
                    <a:pt x="74920" y="113469"/>
                  </a:cubicBezTo>
                  <a:cubicBezTo>
                    <a:pt x="74920" y="112653"/>
                    <a:pt x="74285" y="111836"/>
                    <a:pt x="74285" y="111836"/>
                  </a:cubicBezTo>
                  <a:cubicBezTo>
                    <a:pt x="73650" y="111836"/>
                    <a:pt x="73650" y="111836"/>
                    <a:pt x="73650" y="111836"/>
                  </a:cubicBezTo>
                  <a:cubicBezTo>
                    <a:pt x="73650" y="111836"/>
                    <a:pt x="71111" y="111020"/>
                    <a:pt x="71111" y="111020"/>
                  </a:cubicBezTo>
                  <a:cubicBezTo>
                    <a:pt x="70476" y="111020"/>
                    <a:pt x="69841" y="109387"/>
                    <a:pt x="69841" y="109387"/>
                  </a:cubicBezTo>
                  <a:cubicBezTo>
                    <a:pt x="69841" y="108571"/>
                    <a:pt x="69841" y="108571"/>
                    <a:pt x="69841" y="108571"/>
                  </a:cubicBezTo>
                  <a:cubicBezTo>
                    <a:pt x="70476" y="105306"/>
                    <a:pt x="70476" y="105306"/>
                    <a:pt x="70476" y="105306"/>
                  </a:cubicBezTo>
                  <a:cubicBezTo>
                    <a:pt x="73015" y="107755"/>
                    <a:pt x="73015" y="107755"/>
                    <a:pt x="73015" y="107755"/>
                  </a:cubicBezTo>
                  <a:cubicBezTo>
                    <a:pt x="73650" y="108571"/>
                    <a:pt x="73650" y="108571"/>
                    <a:pt x="73650" y="108571"/>
                  </a:cubicBezTo>
                  <a:cubicBezTo>
                    <a:pt x="75555" y="110204"/>
                    <a:pt x="75555" y="110204"/>
                    <a:pt x="75555" y="110204"/>
                  </a:cubicBezTo>
                  <a:cubicBezTo>
                    <a:pt x="78095" y="109387"/>
                    <a:pt x="78095" y="109387"/>
                    <a:pt x="78095" y="109387"/>
                  </a:cubicBezTo>
                  <a:cubicBezTo>
                    <a:pt x="78730" y="104489"/>
                    <a:pt x="78730" y="104489"/>
                    <a:pt x="78730" y="104489"/>
                  </a:cubicBezTo>
                  <a:cubicBezTo>
                    <a:pt x="78730" y="103673"/>
                    <a:pt x="78730" y="103673"/>
                    <a:pt x="78730" y="103673"/>
                  </a:cubicBezTo>
                  <a:cubicBezTo>
                    <a:pt x="78095" y="100408"/>
                    <a:pt x="78095" y="100408"/>
                    <a:pt x="78095" y="100408"/>
                  </a:cubicBezTo>
                  <a:cubicBezTo>
                    <a:pt x="80000" y="100408"/>
                    <a:pt x="80000" y="100408"/>
                    <a:pt x="80000" y="100408"/>
                  </a:cubicBezTo>
                  <a:cubicBezTo>
                    <a:pt x="82539" y="100408"/>
                    <a:pt x="82539" y="100408"/>
                    <a:pt x="82539" y="100408"/>
                  </a:cubicBezTo>
                  <a:cubicBezTo>
                    <a:pt x="85714" y="97959"/>
                    <a:pt x="85714" y="97959"/>
                    <a:pt x="85714" y="97959"/>
                  </a:cubicBezTo>
                  <a:cubicBezTo>
                    <a:pt x="85714" y="97142"/>
                    <a:pt x="85714" y="97142"/>
                    <a:pt x="85714" y="97142"/>
                  </a:cubicBezTo>
                  <a:cubicBezTo>
                    <a:pt x="84444" y="96326"/>
                    <a:pt x="84444" y="96326"/>
                    <a:pt x="84444" y="96326"/>
                  </a:cubicBezTo>
                  <a:cubicBezTo>
                    <a:pt x="83174" y="96326"/>
                    <a:pt x="83174" y="96326"/>
                    <a:pt x="83174" y="96326"/>
                  </a:cubicBezTo>
                  <a:cubicBezTo>
                    <a:pt x="81904" y="95510"/>
                    <a:pt x="81904" y="95510"/>
                    <a:pt x="81904" y="95510"/>
                  </a:cubicBezTo>
                  <a:cubicBezTo>
                    <a:pt x="81904" y="93877"/>
                    <a:pt x="81904" y="93877"/>
                    <a:pt x="81904" y="93877"/>
                  </a:cubicBezTo>
                  <a:cubicBezTo>
                    <a:pt x="83809" y="93061"/>
                    <a:pt x="83809" y="93061"/>
                    <a:pt x="83809" y="93061"/>
                  </a:cubicBezTo>
                  <a:cubicBezTo>
                    <a:pt x="84444" y="93877"/>
                    <a:pt x="84444" y="93877"/>
                    <a:pt x="84444" y="93877"/>
                  </a:cubicBezTo>
                  <a:cubicBezTo>
                    <a:pt x="86349" y="95510"/>
                    <a:pt x="86349" y="95510"/>
                    <a:pt x="86349" y="95510"/>
                  </a:cubicBezTo>
                  <a:cubicBezTo>
                    <a:pt x="87619" y="95510"/>
                    <a:pt x="87619" y="95510"/>
                    <a:pt x="87619" y="95510"/>
                  </a:cubicBezTo>
                  <a:cubicBezTo>
                    <a:pt x="90158" y="93061"/>
                    <a:pt x="90158" y="93061"/>
                    <a:pt x="90158" y="93061"/>
                  </a:cubicBezTo>
                  <a:cubicBezTo>
                    <a:pt x="92063" y="89795"/>
                    <a:pt x="92063" y="89795"/>
                    <a:pt x="92063" y="89795"/>
                  </a:cubicBezTo>
                  <a:cubicBezTo>
                    <a:pt x="91428" y="87346"/>
                    <a:pt x="91428" y="87346"/>
                    <a:pt x="91428" y="87346"/>
                  </a:cubicBezTo>
                  <a:cubicBezTo>
                    <a:pt x="89523" y="85714"/>
                    <a:pt x="89523" y="85714"/>
                    <a:pt x="89523" y="85714"/>
                  </a:cubicBezTo>
                  <a:cubicBezTo>
                    <a:pt x="89523" y="84897"/>
                    <a:pt x="89523" y="84897"/>
                    <a:pt x="89523" y="84897"/>
                  </a:cubicBezTo>
                  <a:cubicBezTo>
                    <a:pt x="90793" y="84081"/>
                    <a:pt x="90793" y="84081"/>
                    <a:pt x="90793" y="84081"/>
                  </a:cubicBezTo>
                  <a:cubicBezTo>
                    <a:pt x="93333" y="85714"/>
                    <a:pt x="93333" y="85714"/>
                    <a:pt x="93333" y="85714"/>
                  </a:cubicBezTo>
                  <a:cubicBezTo>
                    <a:pt x="94603" y="84081"/>
                    <a:pt x="94603" y="84081"/>
                    <a:pt x="94603" y="84081"/>
                  </a:cubicBezTo>
                  <a:cubicBezTo>
                    <a:pt x="95873" y="81632"/>
                    <a:pt x="95873" y="81632"/>
                    <a:pt x="95873" y="81632"/>
                  </a:cubicBezTo>
                  <a:cubicBezTo>
                    <a:pt x="98412" y="75918"/>
                    <a:pt x="98412" y="75918"/>
                    <a:pt x="98412" y="75918"/>
                  </a:cubicBezTo>
                  <a:cubicBezTo>
                    <a:pt x="100952" y="73469"/>
                    <a:pt x="100952" y="73469"/>
                    <a:pt x="100952" y="73469"/>
                  </a:cubicBezTo>
                  <a:cubicBezTo>
                    <a:pt x="104126" y="72653"/>
                    <a:pt x="104126" y="72653"/>
                    <a:pt x="104126" y="72653"/>
                  </a:cubicBezTo>
                  <a:cubicBezTo>
                    <a:pt x="106031" y="68571"/>
                    <a:pt x="106031" y="68571"/>
                    <a:pt x="106031" y="68571"/>
                  </a:cubicBezTo>
                  <a:cubicBezTo>
                    <a:pt x="107301" y="66122"/>
                    <a:pt x="107301" y="66122"/>
                    <a:pt x="107301" y="66122"/>
                  </a:cubicBezTo>
                  <a:cubicBezTo>
                    <a:pt x="106031" y="64489"/>
                    <a:pt x="106031" y="64489"/>
                    <a:pt x="106031" y="64489"/>
                  </a:cubicBezTo>
                  <a:cubicBezTo>
                    <a:pt x="104761" y="61224"/>
                    <a:pt x="104761" y="61224"/>
                    <a:pt x="104761" y="61224"/>
                  </a:cubicBezTo>
                  <a:cubicBezTo>
                    <a:pt x="106031" y="61224"/>
                    <a:pt x="106031" y="61224"/>
                    <a:pt x="106031" y="61224"/>
                  </a:cubicBezTo>
                  <a:cubicBezTo>
                    <a:pt x="107301" y="61224"/>
                    <a:pt x="107301" y="61224"/>
                    <a:pt x="107301" y="61224"/>
                  </a:cubicBezTo>
                  <a:cubicBezTo>
                    <a:pt x="107301" y="58775"/>
                    <a:pt x="107301" y="58775"/>
                    <a:pt x="107301" y="58775"/>
                  </a:cubicBezTo>
                  <a:cubicBezTo>
                    <a:pt x="107936" y="57142"/>
                    <a:pt x="107936" y="57142"/>
                    <a:pt x="107936" y="57142"/>
                  </a:cubicBezTo>
                  <a:cubicBezTo>
                    <a:pt x="109841" y="53877"/>
                    <a:pt x="109841" y="53877"/>
                    <a:pt x="109841" y="53877"/>
                  </a:cubicBezTo>
                  <a:cubicBezTo>
                    <a:pt x="111111" y="48979"/>
                    <a:pt x="111111" y="48979"/>
                    <a:pt x="111111" y="48979"/>
                  </a:cubicBezTo>
                  <a:cubicBezTo>
                    <a:pt x="112380" y="45714"/>
                    <a:pt x="112380" y="45714"/>
                    <a:pt x="112380" y="45714"/>
                  </a:cubicBezTo>
                  <a:cubicBezTo>
                    <a:pt x="113015" y="44081"/>
                    <a:pt x="113015" y="44081"/>
                    <a:pt x="113015" y="44081"/>
                  </a:cubicBezTo>
                  <a:cubicBezTo>
                    <a:pt x="114285" y="42448"/>
                    <a:pt x="114285" y="42448"/>
                    <a:pt x="114285" y="42448"/>
                  </a:cubicBezTo>
                  <a:cubicBezTo>
                    <a:pt x="118730" y="37551"/>
                    <a:pt x="118730" y="37551"/>
                    <a:pt x="118730" y="37551"/>
                  </a:cubicBezTo>
                  <a:cubicBezTo>
                    <a:pt x="120000" y="35918"/>
                    <a:pt x="120000" y="35918"/>
                    <a:pt x="120000" y="35918"/>
                  </a:cubicBezTo>
                  <a:cubicBezTo>
                    <a:pt x="87619" y="4897"/>
                    <a:pt x="87619" y="4897"/>
                    <a:pt x="87619" y="4897"/>
                  </a:cubicBezTo>
                  <a:lnTo>
                    <a:pt x="62222" y="11428"/>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4" name="Shape 1421">
              <a:extLst>
                <a:ext uri="{FF2B5EF4-FFF2-40B4-BE49-F238E27FC236}">
                  <a16:creationId xmlns:a16="http://schemas.microsoft.com/office/drawing/2014/main" id="{616503BA-2CF4-0A52-44A1-9C33C609A326}"/>
                </a:ext>
              </a:extLst>
            </p:cNvPr>
            <p:cNvSpPr/>
            <p:nvPr/>
          </p:nvSpPr>
          <p:spPr>
            <a:xfrm>
              <a:off x="7128028" y="2788799"/>
              <a:ext cx="212491" cy="340660"/>
            </a:xfrm>
            <a:custGeom>
              <a:avLst/>
              <a:gdLst/>
              <a:ahLst/>
              <a:cxnLst/>
              <a:rect l="0" t="0" r="0" b="0"/>
              <a:pathLst>
                <a:path w="120000" h="120000" extrusionOk="0">
                  <a:moveTo>
                    <a:pt x="38095" y="111683"/>
                  </a:moveTo>
                  <a:lnTo>
                    <a:pt x="37142" y="108712"/>
                  </a:lnTo>
                  <a:lnTo>
                    <a:pt x="33333" y="105742"/>
                  </a:lnTo>
                  <a:lnTo>
                    <a:pt x="31428" y="104554"/>
                  </a:lnTo>
                  <a:lnTo>
                    <a:pt x="31428" y="102772"/>
                  </a:lnTo>
                  <a:lnTo>
                    <a:pt x="34285" y="102178"/>
                  </a:lnTo>
                  <a:lnTo>
                    <a:pt x="40952" y="100990"/>
                  </a:lnTo>
                  <a:lnTo>
                    <a:pt x="48571" y="99801"/>
                  </a:lnTo>
                  <a:lnTo>
                    <a:pt x="120000" y="96237"/>
                  </a:lnTo>
                  <a:lnTo>
                    <a:pt x="119047" y="95643"/>
                  </a:lnTo>
                  <a:lnTo>
                    <a:pt x="115238" y="92673"/>
                  </a:lnTo>
                  <a:lnTo>
                    <a:pt x="114285" y="90891"/>
                  </a:lnTo>
                  <a:lnTo>
                    <a:pt x="112380" y="89108"/>
                  </a:lnTo>
                  <a:lnTo>
                    <a:pt x="113333" y="87920"/>
                  </a:lnTo>
                  <a:lnTo>
                    <a:pt x="115238" y="86732"/>
                  </a:lnTo>
                  <a:lnTo>
                    <a:pt x="114285" y="83762"/>
                  </a:lnTo>
                  <a:lnTo>
                    <a:pt x="112380" y="81980"/>
                  </a:lnTo>
                  <a:lnTo>
                    <a:pt x="110476" y="77227"/>
                  </a:lnTo>
                  <a:lnTo>
                    <a:pt x="110476" y="74257"/>
                  </a:lnTo>
                  <a:lnTo>
                    <a:pt x="113333" y="73069"/>
                  </a:lnTo>
                  <a:lnTo>
                    <a:pt x="114285" y="70693"/>
                  </a:lnTo>
                  <a:lnTo>
                    <a:pt x="110476" y="69504"/>
                  </a:lnTo>
                  <a:lnTo>
                    <a:pt x="115238" y="67722"/>
                  </a:lnTo>
                  <a:lnTo>
                    <a:pt x="116190" y="65346"/>
                  </a:lnTo>
                  <a:lnTo>
                    <a:pt x="114285" y="64158"/>
                  </a:lnTo>
                  <a:lnTo>
                    <a:pt x="113333" y="61782"/>
                  </a:lnTo>
                  <a:lnTo>
                    <a:pt x="113333" y="59405"/>
                  </a:lnTo>
                  <a:lnTo>
                    <a:pt x="109523" y="56435"/>
                  </a:lnTo>
                  <a:lnTo>
                    <a:pt x="102857" y="49306"/>
                  </a:lnTo>
                  <a:lnTo>
                    <a:pt x="100952" y="44554"/>
                  </a:lnTo>
                  <a:lnTo>
                    <a:pt x="91428" y="24356"/>
                  </a:lnTo>
                  <a:lnTo>
                    <a:pt x="84761" y="7128"/>
                  </a:lnTo>
                  <a:lnTo>
                    <a:pt x="82857" y="0"/>
                  </a:lnTo>
                  <a:lnTo>
                    <a:pt x="89523" y="0"/>
                  </a:lnTo>
                  <a:lnTo>
                    <a:pt x="89523" y="0"/>
                  </a:lnTo>
                  <a:lnTo>
                    <a:pt x="952" y="4158"/>
                  </a:lnTo>
                  <a:lnTo>
                    <a:pt x="952" y="8316"/>
                  </a:lnTo>
                  <a:lnTo>
                    <a:pt x="0" y="62970"/>
                  </a:lnTo>
                  <a:lnTo>
                    <a:pt x="0" y="92079"/>
                  </a:lnTo>
                  <a:lnTo>
                    <a:pt x="5714" y="116435"/>
                  </a:lnTo>
                  <a:lnTo>
                    <a:pt x="7619" y="116435"/>
                  </a:lnTo>
                  <a:lnTo>
                    <a:pt x="10476" y="117029"/>
                  </a:lnTo>
                  <a:lnTo>
                    <a:pt x="14285" y="117623"/>
                  </a:lnTo>
                  <a:lnTo>
                    <a:pt x="15238" y="115841"/>
                  </a:lnTo>
                  <a:lnTo>
                    <a:pt x="14285" y="113465"/>
                  </a:lnTo>
                  <a:lnTo>
                    <a:pt x="15238" y="111089"/>
                  </a:lnTo>
                  <a:lnTo>
                    <a:pt x="17142" y="109900"/>
                  </a:lnTo>
                  <a:lnTo>
                    <a:pt x="20000" y="109306"/>
                  </a:lnTo>
                  <a:lnTo>
                    <a:pt x="20952" y="110495"/>
                  </a:lnTo>
                  <a:lnTo>
                    <a:pt x="20952" y="112277"/>
                  </a:lnTo>
                  <a:lnTo>
                    <a:pt x="20000" y="113465"/>
                  </a:lnTo>
                  <a:lnTo>
                    <a:pt x="20952" y="114653"/>
                  </a:lnTo>
                  <a:lnTo>
                    <a:pt x="21904" y="115247"/>
                  </a:lnTo>
                  <a:lnTo>
                    <a:pt x="23809" y="115841"/>
                  </a:lnTo>
                  <a:lnTo>
                    <a:pt x="25714" y="117029"/>
                  </a:lnTo>
                  <a:lnTo>
                    <a:pt x="25714" y="118217"/>
                  </a:lnTo>
                  <a:lnTo>
                    <a:pt x="25714" y="118811"/>
                  </a:lnTo>
                  <a:lnTo>
                    <a:pt x="23809" y="120000"/>
                  </a:lnTo>
                  <a:lnTo>
                    <a:pt x="25714" y="119405"/>
                  </a:lnTo>
                  <a:lnTo>
                    <a:pt x="29523" y="118811"/>
                  </a:lnTo>
                  <a:lnTo>
                    <a:pt x="34285" y="118217"/>
                  </a:lnTo>
                  <a:lnTo>
                    <a:pt x="36190" y="117029"/>
                  </a:lnTo>
                  <a:lnTo>
                    <a:pt x="37142" y="117029"/>
                  </a:lnTo>
                  <a:lnTo>
                    <a:pt x="40952" y="116435"/>
                  </a:lnTo>
                  <a:lnTo>
                    <a:pt x="41904" y="115841"/>
                  </a:lnTo>
                  <a:lnTo>
                    <a:pt x="41904" y="115841"/>
                  </a:lnTo>
                  <a:lnTo>
                    <a:pt x="38095" y="111683"/>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5" name="Shape 1422">
              <a:extLst>
                <a:ext uri="{FF2B5EF4-FFF2-40B4-BE49-F238E27FC236}">
                  <a16:creationId xmlns:a16="http://schemas.microsoft.com/office/drawing/2014/main" id="{776E8D67-3399-5E78-585D-C746E74ADDF0}"/>
                </a:ext>
              </a:extLst>
            </p:cNvPr>
            <p:cNvSpPr/>
            <p:nvPr/>
          </p:nvSpPr>
          <p:spPr>
            <a:xfrm>
              <a:off x="6942518" y="2800603"/>
              <a:ext cx="195628" cy="342347"/>
            </a:xfrm>
            <a:custGeom>
              <a:avLst/>
              <a:gdLst/>
              <a:ahLst/>
              <a:cxnLst/>
              <a:rect l="0" t="0" r="0" b="0"/>
              <a:pathLst>
                <a:path w="120000" h="120000" extrusionOk="0">
                  <a:moveTo>
                    <a:pt x="113793" y="87487"/>
                  </a:moveTo>
                  <a:lnTo>
                    <a:pt x="113793" y="58522"/>
                  </a:lnTo>
                  <a:lnTo>
                    <a:pt x="114827" y="4137"/>
                  </a:lnTo>
                  <a:lnTo>
                    <a:pt x="114827" y="0"/>
                  </a:lnTo>
                  <a:lnTo>
                    <a:pt x="42413" y="2955"/>
                  </a:lnTo>
                  <a:lnTo>
                    <a:pt x="42413" y="2955"/>
                  </a:lnTo>
                  <a:lnTo>
                    <a:pt x="43448" y="4729"/>
                  </a:lnTo>
                  <a:lnTo>
                    <a:pt x="39310" y="5911"/>
                  </a:lnTo>
                  <a:lnTo>
                    <a:pt x="37241" y="7093"/>
                  </a:lnTo>
                  <a:lnTo>
                    <a:pt x="36206" y="8866"/>
                  </a:lnTo>
                  <a:lnTo>
                    <a:pt x="34137" y="10049"/>
                  </a:lnTo>
                  <a:lnTo>
                    <a:pt x="33103" y="10049"/>
                  </a:lnTo>
                  <a:lnTo>
                    <a:pt x="31034" y="13004"/>
                  </a:lnTo>
                  <a:lnTo>
                    <a:pt x="31034" y="15369"/>
                  </a:lnTo>
                  <a:lnTo>
                    <a:pt x="27931" y="18325"/>
                  </a:lnTo>
                  <a:lnTo>
                    <a:pt x="22758" y="21871"/>
                  </a:lnTo>
                  <a:lnTo>
                    <a:pt x="19655" y="23645"/>
                  </a:lnTo>
                  <a:lnTo>
                    <a:pt x="18620" y="26009"/>
                  </a:lnTo>
                  <a:lnTo>
                    <a:pt x="20689" y="26600"/>
                  </a:lnTo>
                  <a:lnTo>
                    <a:pt x="18620" y="28374"/>
                  </a:lnTo>
                  <a:lnTo>
                    <a:pt x="16551" y="30738"/>
                  </a:lnTo>
                  <a:lnTo>
                    <a:pt x="17586" y="31921"/>
                  </a:lnTo>
                  <a:lnTo>
                    <a:pt x="16551" y="31921"/>
                  </a:lnTo>
                  <a:lnTo>
                    <a:pt x="13448" y="34285"/>
                  </a:lnTo>
                  <a:lnTo>
                    <a:pt x="11379" y="36059"/>
                  </a:lnTo>
                  <a:lnTo>
                    <a:pt x="12413" y="36650"/>
                  </a:lnTo>
                  <a:lnTo>
                    <a:pt x="11379" y="37832"/>
                  </a:lnTo>
                  <a:lnTo>
                    <a:pt x="11379" y="39014"/>
                  </a:lnTo>
                  <a:lnTo>
                    <a:pt x="12413" y="39605"/>
                  </a:lnTo>
                  <a:lnTo>
                    <a:pt x="14482" y="41379"/>
                  </a:lnTo>
                  <a:lnTo>
                    <a:pt x="14482" y="42561"/>
                  </a:lnTo>
                  <a:lnTo>
                    <a:pt x="14482" y="46108"/>
                  </a:lnTo>
                  <a:lnTo>
                    <a:pt x="15517" y="47881"/>
                  </a:lnTo>
                  <a:lnTo>
                    <a:pt x="14482" y="49655"/>
                  </a:lnTo>
                  <a:lnTo>
                    <a:pt x="12413" y="52610"/>
                  </a:lnTo>
                  <a:lnTo>
                    <a:pt x="11379" y="52610"/>
                  </a:lnTo>
                  <a:lnTo>
                    <a:pt x="14482" y="53793"/>
                  </a:lnTo>
                  <a:lnTo>
                    <a:pt x="15517" y="55566"/>
                  </a:lnTo>
                  <a:lnTo>
                    <a:pt x="15517" y="56748"/>
                  </a:lnTo>
                  <a:lnTo>
                    <a:pt x="11379" y="57931"/>
                  </a:lnTo>
                  <a:lnTo>
                    <a:pt x="14482" y="59113"/>
                  </a:lnTo>
                  <a:lnTo>
                    <a:pt x="15517" y="60295"/>
                  </a:lnTo>
                  <a:lnTo>
                    <a:pt x="15517" y="60886"/>
                  </a:lnTo>
                  <a:lnTo>
                    <a:pt x="16551" y="63842"/>
                  </a:lnTo>
                  <a:lnTo>
                    <a:pt x="16551" y="65024"/>
                  </a:lnTo>
                  <a:lnTo>
                    <a:pt x="19655" y="66206"/>
                  </a:lnTo>
                  <a:lnTo>
                    <a:pt x="20689" y="67980"/>
                  </a:lnTo>
                  <a:lnTo>
                    <a:pt x="19655" y="72709"/>
                  </a:lnTo>
                  <a:lnTo>
                    <a:pt x="16551" y="74482"/>
                  </a:lnTo>
                  <a:lnTo>
                    <a:pt x="15517" y="74482"/>
                  </a:lnTo>
                  <a:lnTo>
                    <a:pt x="15517" y="76847"/>
                  </a:lnTo>
                  <a:lnTo>
                    <a:pt x="14482" y="78029"/>
                  </a:lnTo>
                  <a:lnTo>
                    <a:pt x="10344" y="81576"/>
                  </a:lnTo>
                  <a:lnTo>
                    <a:pt x="8275" y="82758"/>
                  </a:lnTo>
                  <a:lnTo>
                    <a:pt x="7241" y="86896"/>
                  </a:lnTo>
                  <a:lnTo>
                    <a:pt x="6206" y="88078"/>
                  </a:lnTo>
                  <a:lnTo>
                    <a:pt x="5172" y="88669"/>
                  </a:lnTo>
                  <a:lnTo>
                    <a:pt x="4137" y="90443"/>
                  </a:lnTo>
                  <a:lnTo>
                    <a:pt x="4137" y="91625"/>
                  </a:lnTo>
                  <a:lnTo>
                    <a:pt x="4137" y="94581"/>
                  </a:lnTo>
                  <a:lnTo>
                    <a:pt x="1034" y="95763"/>
                  </a:lnTo>
                  <a:lnTo>
                    <a:pt x="0" y="96945"/>
                  </a:lnTo>
                  <a:lnTo>
                    <a:pt x="0" y="98719"/>
                  </a:lnTo>
                  <a:lnTo>
                    <a:pt x="1034" y="101083"/>
                  </a:lnTo>
                  <a:lnTo>
                    <a:pt x="68275" y="99310"/>
                  </a:lnTo>
                  <a:lnTo>
                    <a:pt x="67241" y="108768"/>
                  </a:lnTo>
                  <a:lnTo>
                    <a:pt x="69310" y="111133"/>
                  </a:lnTo>
                  <a:lnTo>
                    <a:pt x="72413" y="113497"/>
                  </a:lnTo>
                  <a:lnTo>
                    <a:pt x="73448" y="117635"/>
                  </a:lnTo>
                  <a:lnTo>
                    <a:pt x="73448" y="120000"/>
                  </a:lnTo>
                  <a:lnTo>
                    <a:pt x="73448" y="120000"/>
                  </a:lnTo>
                  <a:lnTo>
                    <a:pt x="74482" y="120000"/>
                  </a:lnTo>
                  <a:lnTo>
                    <a:pt x="79655" y="118226"/>
                  </a:lnTo>
                  <a:lnTo>
                    <a:pt x="81724" y="117635"/>
                  </a:lnTo>
                  <a:lnTo>
                    <a:pt x="84827" y="116453"/>
                  </a:lnTo>
                  <a:lnTo>
                    <a:pt x="84827" y="114088"/>
                  </a:lnTo>
                  <a:lnTo>
                    <a:pt x="88965" y="114088"/>
                  </a:lnTo>
                  <a:lnTo>
                    <a:pt x="92068" y="114088"/>
                  </a:lnTo>
                  <a:lnTo>
                    <a:pt x="96206" y="113497"/>
                  </a:lnTo>
                  <a:lnTo>
                    <a:pt x="101379" y="112315"/>
                  </a:lnTo>
                  <a:lnTo>
                    <a:pt x="105517" y="112315"/>
                  </a:lnTo>
                  <a:lnTo>
                    <a:pt x="107586" y="112315"/>
                  </a:lnTo>
                  <a:lnTo>
                    <a:pt x="110689" y="112315"/>
                  </a:lnTo>
                  <a:lnTo>
                    <a:pt x="112758" y="112315"/>
                  </a:lnTo>
                  <a:lnTo>
                    <a:pt x="116896" y="113497"/>
                  </a:lnTo>
                  <a:lnTo>
                    <a:pt x="118965" y="112315"/>
                  </a:lnTo>
                  <a:lnTo>
                    <a:pt x="120000" y="111724"/>
                  </a:lnTo>
                  <a:lnTo>
                    <a:pt x="120000" y="111724"/>
                  </a:lnTo>
                  <a:lnTo>
                    <a:pt x="120000" y="111724"/>
                  </a:lnTo>
                  <a:lnTo>
                    <a:pt x="113793" y="87487"/>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6" name="Shape 1423">
              <a:extLst>
                <a:ext uri="{FF2B5EF4-FFF2-40B4-BE49-F238E27FC236}">
                  <a16:creationId xmlns:a16="http://schemas.microsoft.com/office/drawing/2014/main" id="{D984A472-FF64-483C-2D66-05394AA699B9}"/>
                </a:ext>
              </a:extLst>
            </p:cNvPr>
            <p:cNvSpPr/>
            <p:nvPr/>
          </p:nvSpPr>
          <p:spPr>
            <a:xfrm>
              <a:off x="7559757" y="2387425"/>
              <a:ext cx="242848" cy="177077"/>
            </a:xfrm>
            <a:custGeom>
              <a:avLst/>
              <a:gdLst/>
              <a:ahLst/>
              <a:cxnLst/>
              <a:rect l="0" t="0" r="0" b="0"/>
              <a:pathLst>
                <a:path w="120000" h="120000" extrusionOk="0">
                  <a:moveTo>
                    <a:pt x="94588" y="0"/>
                  </a:moveTo>
                  <a:cubicBezTo>
                    <a:pt x="0" y="23414"/>
                    <a:pt x="0" y="23414"/>
                    <a:pt x="0" y="23414"/>
                  </a:cubicBezTo>
                  <a:cubicBezTo>
                    <a:pt x="0" y="23414"/>
                    <a:pt x="0" y="23414"/>
                    <a:pt x="0" y="23414"/>
                  </a:cubicBezTo>
                  <a:cubicBezTo>
                    <a:pt x="2117" y="42926"/>
                    <a:pt x="2117" y="42926"/>
                    <a:pt x="2117" y="42926"/>
                  </a:cubicBezTo>
                  <a:cubicBezTo>
                    <a:pt x="4941" y="42926"/>
                    <a:pt x="4941" y="42926"/>
                    <a:pt x="4941" y="42926"/>
                  </a:cubicBezTo>
                  <a:cubicBezTo>
                    <a:pt x="11294" y="32195"/>
                    <a:pt x="11294" y="32195"/>
                    <a:pt x="11294" y="32195"/>
                  </a:cubicBezTo>
                  <a:cubicBezTo>
                    <a:pt x="15529" y="32195"/>
                    <a:pt x="15529" y="32195"/>
                    <a:pt x="15529" y="32195"/>
                  </a:cubicBezTo>
                  <a:cubicBezTo>
                    <a:pt x="19764" y="24390"/>
                    <a:pt x="19764" y="24390"/>
                    <a:pt x="19764" y="24390"/>
                  </a:cubicBezTo>
                  <a:cubicBezTo>
                    <a:pt x="21176" y="24390"/>
                    <a:pt x="21176" y="24390"/>
                    <a:pt x="21176" y="24390"/>
                  </a:cubicBezTo>
                  <a:cubicBezTo>
                    <a:pt x="21882" y="26341"/>
                    <a:pt x="21882" y="26341"/>
                    <a:pt x="21882" y="26341"/>
                  </a:cubicBezTo>
                  <a:cubicBezTo>
                    <a:pt x="26823" y="21463"/>
                    <a:pt x="26823" y="21463"/>
                    <a:pt x="26823" y="21463"/>
                  </a:cubicBezTo>
                  <a:cubicBezTo>
                    <a:pt x="28941" y="21463"/>
                    <a:pt x="28941" y="21463"/>
                    <a:pt x="28941" y="21463"/>
                  </a:cubicBezTo>
                  <a:cubicBezTo>
                    <a:pt x="34588" y="17560"/>
                    <a:pt x="34588" y="17560"/>
                    <a:pt x="34588" y="17560"/>
                  </a:cubicBezTo>
                  <a:cubicBezTo>
                    <a:pt x="44470" y="21463"/>
                    <a:pt x="44470" y="21463"/>
                    <a:pt x="44470" y="21463"/>
                  </a:cubicBezTo>
                  <a:cubicBezTo>
                    <a:pt x="47294" y="27317"/>
                    <a:pt x="47294" y="27317"/>
                    <a:pt x="47294" y="27317"/>
                  </a:cubicBezTo>
                  <a:cubicBezTo>
                    <a:pt x="49411" y="35121"/>
                    <a:pt x="49411" y="35121"/>
                    <a:pt x="49411" y="35121"/>
                  </a:cubicBezTo>
                  <a:cubicBezTo>
                    <a:pt x="50117" y="35121"/>
                    <a:pt x="50117" y="35121"/>
                    <a:pt x="50117" y="35121"/>
                  </a:cubicBezTo>
                  <a:cubicBezTo>
                    <a:pt x="58588" y="41951"/>
                    <a:pt x="58588" y="41951"/>
                    <a:pt x="58588" y="41951"/>
                  </a:cubicBezTo>
                  <a:cubicBezTo>
                    <a:pt x="62117" y="46829"/>
                    <a:pt x="62117" y="46829"/>
                    <a:pt x="62117" y="46829"/>
                  </a:cubicBezTo>
                  <a:cubicBezTo>
                    <a:pt x="65647" y="49756"/>
                    <a:pt x="65647" y="49756"/>
                    <a:pt x="65647" y="49756"/>
                  </a:cubicBezTo>
                  <a:cubicBezTo>
                    <a:pt x="66352" y="54634"/>
                    <a:pt x="66352" y="54634"/>
                    <a:pt x="66352" y="54634"/>
                  </a:cubicBezTo>
                  <a:cubicBezTo>
                    <a:pt x="64941" y="58536"/>
                    <a:pt x="64941" y="58536"/>
                    <a:pt x="64941" y="58536"/>
                  </a:cubicBezTo>
                  <a:cubicBezTo>
                    <a:pt x="62117" y="59512"/>
                    <a:pt x="62117" y="59512"/>
                    <a:pt x="62117" y="59512"/>
                  </a:cubicBezTo>
                  <a:cubicBezTo>
                    <a:pt x="62823" y="72195"/>
                    <a:pt x="62823" y="72195"/>
                    <a:pt x="62823" y="72195"/>
                  </a:cubicBezTo>
                  <a:cubicBezTo>
                    <a:pt x="64235" y="74146"/>
                    <a:pt x="64235" y="74146"/>
                    <a:pt x="64235" y="74146"/>
                  </a:cubicBezTo>
                  <a:cubicBezTo>
                    <a:pt x="66352" y="73170"/>
                    <a:pt x="66352" y="73170"/>
                    <a:pt x="66352" y="73170"/>
                  </a:cubicBezTo>
                  <a:cubicBezTo>
                    <a:pt x="68470" y="72195"/>
                    <a:pt x="68470" y="72195"/>
                    <a:pt x="68470" y="72195"/>
                  </a:cubicBezTo>
                  <a:cubicBezTo>
                    <a:pt x="71294" y="73170"/>
                    <a:pt x="71294" y="73170"/>
                    <a:pt x="71294" y="73170"/>
                  </a:cubicBezTo>
                  <a:cubicBezTo>
                    <a:pt x="72000" y="74146"/>
                    <a:pt x="72000" y="74146"/>
                    <a:pt x="72000" y="74146"/>
                  </a:cubicBezTo>
                  <a:cubicBezTo>
                    <a:pt x="74823" y="73170"/>
                    <a:pt x="74823" y="73170"/>
                    <a:pt x="74823" y="73170"/>
                  </a:cubicBezTo>
                  <a:cubicBezTo>
                    <a:pt x="84000" y="74146"/>
                    <a:pt x="84000" y="74146"/>
                    <a:pt x="84000" y="74146"/>
                  </a:cubicBezTo>
                  <a:cubicBezTo>
                    <a:pt x="86117" y="76097"/>
                    <a:pt x="86117" y="76097"/>
                    <a:pt x="86117" y="76097"/>
                  </a:cubicBezTo>
                  <a:cubicBezTo>
                    <a:pt x="88941" y="78048"/>
                    <a:pt x="88941" y="78048"/>
                    <a:pt x="88941" y="78048"/>
                  </a:cubicBezTo>
                  <a:cubicBezTo>
                    <a:pt x="91058" y="77073"/>
                    <a:pt x="91058" y="77073"/>
                    <a:pt x="91058" y="77073"/>
                  </a:cubicBezTo>
                  <a:cubicBezTo>
                    <a:pt x="89647" y="73170"/>
                    <a:pt x="89647" y="73170"/>
                    <a:pt x="89647" y="73170"/>
                  </a:cubicBezTo>
                  <a:cubicBezTo>
                    <a:pt x="87529" y="70243"/>
                    <a:pt x="87529" y="70243"/>
                    <a:pt x="87529" y="70243"/>
                  </a:cubicBezTo>
                  <a:cubicBezTo>
                    <a:pt x="87529" y="67317"/>
                    <a:pt x="87529" y="67317"/>
                    <a:pt x="87529" y="67317"/>
                  </a:cubicBezTo>
                  <a:cubicBezTo>
                    <a:pt x="87529" y="66341"/>
                    <a:pt x="87529" y="66341"/>
                    <a:pt x="87529" y="66341"/>
                  </a:cubicBezTo>
                  <a:cubicBezTo>
                    <a:pt x="83294" y="58536"/>
                    <a:pt x="83294" y="58536"/>
                    <a:pt x="83294" y="58536"/>
                  </a:cubicBezTo>
                  <a:cubicBezTo>
                    <a:pt x="81882" y="55609"/>
                    <a:pt x="81882" y="55609"/>
                    <a:pt x="81882" y="55609"/>
                  </a:cubicBezTo>
                  <a:cubicBezTo>
                    <a:pt x="81882" y="48780"/>
                    <a:pt x="81882" y="48780"/>
                    <a:pt x="81882" y="48780"/>
                  </a:cubicBezTo>
                  <a:cubicBezTo>
                    <a:pt x="81176" y="41951"/>
                    <a:pt x="81176" y="41951"/>
                    <a:pt x="81176" y="41951"/>
                  </a:cubicBezTo>
                  <a:cubicBezTo>
                    <a:pt x="81882" y="35121"/>
                    <a:pt x="81882" y="35121"/>
                    <a:pt x="81882" y="35121"/>
                  </a:cubicBezTo>
                  <a:cubicBezTo>
                    <a:pt x="79764" y="30243"/>
                    <a:pt x="79764" y="30243"/>
                    <a:pt x="79764" y="30243"/>
                  </a:cubicBezTo>
                  <a:cubicBezTo>
                    <a:pt x="78352" y="27317"/>
                    <a:pt x="78352" y="27317"/>
                    <a:pt x="78352" y="27317"/>
                  </a:cubicBezTo>
                  <a:cubicBezTo>
                    <a:pt x="81176" y="27317"/>
                    <a:pt x="81176" y="27317"/>
                    <a:pt x="81176" y="27317"/>
                  </a:cubicBezTo>
                  <a:cubicBezTo>
                    <a:pt x="83294" y="21463"/>
                    <a:pt x="83294" y="21463"/>
                    <a:pt x="83294" y="21463"/>
                  </a:cubicBezTo>
                  <a:cubicBezTo>
                    <a:pt x="87529" y="17560"/>
                    <a:pt x="87529" y="17560"/>
                    <a:pt x="87529" y="17560"/>
                  </a:cubicBezTo>
                  <a:cubicBezTo>
                    <a:pt x="89647" y="11707"/>
                    <a:pt x="89647" y="11707"/>
                    <a:pt x="89647" y="11707"/>
                  </a:cubicBezTo>
                  <a:cubicBezTo>
                    <a:pt x="91058" y="12682"/>
                    <a:pt x="91058" y="12682"/>
                    <a:pt x="91058" y="12682"/>
                  </a:cubicBezTo>
                  <a:cubicBezTo>
                    <a:pt x="90352" y="19512"/>
                    <a:pt x="90352" y="19512"/>
                    <a:pt x="90352" y="19512"/>
                  </a:cubicBezTo>
                  <a:cubicBezTo>
                    <a:pt x="88235" y="20487"/>
                    <a:pt x="88235" y="20487"/>
                    <a:pt x="88235" y="20487"/>
                  </a:cubicBezTo>
                  <a:cubicBezTo>
                    <a:pt x="86823" y="26341"/>
                    <a:pt x="86823" y="26341"/>
                    <a:pt x="86823" y="26341"/>
                  </a:cubicBezTo>
                  <a:cubicBezTo>
                    <a:pt x="86823" y="30243"/>
                    <a:pt x="86823" y="30243"/>
                    <a:pt x="86823" y="30243"/>
                  </a:cubicBezTo>
                  <a:cubicBezTo>
                    <a:pt x="89647" y="30243"/>
                    <a:pt x="89647" y="30243"/>
                    <a:pt x="89647" y="30243"/>
                  </a:cubicBezTo>
                  <a:cubicBezTo>
                    <a:pt x="86117" y="35121"/>
                    <a:pt x="86117" y="35121"/>
                    <a:pt x="86117" y="35121"/>
                  </a:cubicBezTo>
                  <a:cubicBezTo>
                    <a:pt x="84705" y="38048"/>
                    <a:pt x="84705" y="38048"/>
                    <a:pt x="84705" y="38048"/>
                  </a:cubicBezTo>
                  <a:cubicBezTo>
                    <a:pt x="88941" y="40000"/>
                    <a:pt x="88941" y="40000"/>
                    <a:pt x="88941" y="40000"/>
                  </a:cubicBezTo>
                  <a:cubicBezTo>
                    <a:pt x="90352" y="40975"/>
                    <a:pt x="90352" y="40975"/>
                    <a:pt x="90352" y="40975"/>
                  </a:cubicBezTo>
                  <a:cubicBezTo>
                    <a:pt x="92470" y="44878"/>
                    <a:pt x="92470" y="44878"/>
                    <a:pt x="92470" y="44878"/>
                  </a:cubicBezTo>
                  <a:cubicBezTo>
                    <a:pt x="91764" y="45853"/>
                    <a:pt x="91764" y="45853"/>
                    <a:pt x="91764" y="45853"/>
                  </a:cubicBezTo>
                  <a:cubicBezTo>
                    <a:pt x="94588" y="49756"/>
                    <a:pt x="94588" y="49756"/>
                    <a:pt x="94588" y="49756"/>
                  </a:cubicBezTo>
                  <a:cubicBezTo>
                    <a:pt x="94588" y="51707"/>
                    <a:pt x="94588" y="51707"/>
                    <a:pt x="94588" y="51707"/>
                  </a:cubicBezTo>
                  <a:cubicBezTo>
                    <a:pt x="91764" y="55609"/>
                    <a:pt x="91764" y="55609"/>
                    <a:pt x="91764" y="55609"/>
                  </a:cubicBezTo>
                  <a:cubicBezTo>
                    <a:pt x="89647" y="55609"/>
                    <a:pt x="89647" y="55609"/>
                    <a:pt x="89647" y="55609"/>
                  </a:cubicBezTo>
                  <a:cubicBezTo>
                    <a:pt x="90352" y="59512"/>
                    <a:pt x="90352" y="59512"/>
                    <a:pt x="90352" y="59512"/>
                  </a:cubicBezTo>
                  <a:cubicBezTo>
                    <a:pt x="89647" y="61463"/>
                    <a:pt x="89647" y="61463"/>
                    <a:pt x="89647" y="61463"/>
                  </a:cubicBezTo>
                  <a:cubicBezTo>
                    <a:pt x="91058" y="63414"/>
                    <a:pt x="91058" y="63414"/>
                    <a:pt x="91058" y="63414"/>
                  </a:cubicBezTo>
                  <a:cubicBezTo>
                    <a:pt x="93882" y="64390"/>
                    <a:pt x="93882" y="64390"/>
                    <a:pt x="93882" y="64390"/>
                  </a:cubicBezTo>
                  <a:cubicBezTo>
                    <a:pt x="98117" y="64390"/>
                    <a:pt x="98117" y="64390"/>
                    <a:pt x="98117" y="64390"/>
                  </a:cubicBezTo>
                  <a:cubicBezTo>
                    <a:pt x="100941" y="67317"/>
                    <a:pt x="100941" y="67317"/>
                    <a:pt x="100941" y="67317"/>
                  </a:cubicBezTo>
                  <a:cubicBezTo>
                    <a:pt x="103058" y="73170"/>
                    <a:pt x="103058" y="73170"/>
                    <a:pt x="103058" y="73170"/>
                  </a:cubicBezTo>
                  <a:cubicBezTo>
                    <a:pt x="104470" y="78048"/>
                    <a:pt x="104470" y="78048"/>
                    <a:pt x="104470" y="78048"/>
                  </a:cubicBezTo>
                  <a:cubicBezTo>
                    <a:pt x="103764" y="79024"/>
                    <a:pt x="103764" y="79024"/>
                    <a:pt x="103764" y="79024"/>
                  </a:cubicBezTo>
                  <a:cubicBezTo>
                    <a:pt x="105882" y="81951"/>
                    <a:pt x="105882" y="81951"/>
                    <a:pt x="105882" y="81951"/>
                  </a:cubicBezTo>
                  <a:cubicBezTo>
                    <a:pt x="107294" y="86829"/>
                    <a:pt x="107294" y="86829"/>
                    <a:pt x="107294" y="86829"/>
                  </a:cubicBezTo>
                  <a:cubicBezTo>
                    <a:pt x="105176" y="95609"/>
                    <a:pt x="105176" y="95609"/>
                    <a:pt x="105176" y="95609"/>
                  </a:cubicBezTo>
                  <a:cubicBezTo>
                    <a:pt x="104470" y="101463"/>
                    <a:pt x="104470" y="101463"/>
                    <a:pt x="104470" y="101463"/>
                  </a:cubicBezTo>
                  <a:cubicBezTo>
                    <a:pt x="104470" y="111219"/>
                    <a:pt x="104470" y="111219"/>
                    <a:pt x="104470" y="111219"/>
                  </a:cubicBezTo>
                  <a:cubicBezTo>
                    <a:pt x="105176" y="117073"/>
                    <a:pt x="105176" y="117073"/>
                    <a:pt x="105176" y="117073"/>
                  </a:cubicBezTo>
                  <a:cubicBezTo>
                    <a:pt x="106588" y="120000"/>
                    <a:pt x="106588" y="120000"/>
                    <a:pt x="106588" y="120000"/>
                  </a:cubicBezTo>
                  <a:cubicBezTo>
                    <a:pt x="108000" y="113170"/>
                    <a:pt x="108000" y="113170"/>
                    <a:pt x="108000" y="113170"/>
                  </a:cubicBezTo>
                  <a:cubicBezTo>
                    <a:pt x="108705" y="102439"/>
                    <a:pt x="108705" y="102439"/>
                    <a:pt x="108705" y="102439"/>
                  </a:cubicBezTo>
                  <a:cubicBezTo>
                    <a:pt x="110823" y="99512"/>
                    <a:pt x="110823" y="99512"/>
                    <a:pt x="110823" y="99512"/>
                  </a:cubicBezTo>
                  <a:cubicBezTo>
                    <a:pt x="110823" y="96585"/>
                    <a:pt x="110823" y="96585"/>
                    <a:pt x="110823" y="96585"/>
                  </a:cubicBezTo>
                  <a:cubicBezTo>
                    <a:pt x="110823" y="94634"/>
                    <a:pt x="110823" y="94634"/>
                    <a:pt x="110823" y="94634"/>
                  </a:cubicBezTo>
                  <a:cubicBezTo>
                    <a:pt x="112941" y="92682"/>
                    <a:pt x="112941" y="92682"/>
                    <a:pt x="112941" y="92682"/>
                  </a:cubicBezTo>
                  <a:cubicBezTo>
                    <a:pt x="115058" y="88780"/>
                    <a:pt x="115058" y="88780"/>
                    <a:pt x="115058" y="88780"/>
                  </a:cubicBezTo>
                  <a:cubicBezTo>
                    <a:pt x="115058" y="80000"/>
                    <a:pt x="115058" y="80000"/>
                    <a:pt x="115058" y="80000"/>
                  </a:cubicBezTo>
                  <a:cubicBezTo>
                    <a:pt x="115058" y="77073"/>
                    <a:pt x="115058" y="77073"/>
                    <a:pt x="115058" y="77073"/>
                  </a:cubicBezTo>
                  <a:cubicBezTo>
                    <a:pt x="115058" y="73170"/>
                    <a:pt x="115058" y="73170"/>
                    <a:pt x="115058" y="73170"/>
                  </a:cubicBezTo>
                  <a:cubicBezTo>
                    <a:pt x="117882" y="69268"/>
                    <a:pt x="117882" y="69268"/>
                    <a:pt x="117882" y="69268"/>
                  </a:cubicBezTo>
                  <a:cubicBezTo>
                    <a:pt x="118588" y="72195"/>
                    <a:pt x="118588" y="72195"/>
                    <a:pt x="118588" y="72195"/>
                  </a:cubicBezTo>
                  <a:cubicBezTo>
                    <a:pt x="117882" y="75121"/>
                    <a:pt x="117882" y="75121"/>
                    <a:pt x="117882" y="75121"/>
                  </a:cubicBezTo>
                  <a:cubicBezTo>
                    <a:pt x="117882" y="75121"/>
                    <a:pt x="116470" y="78048"/>
                    <a:pt x="116470" y="78048"/>
                  </a:cubicBezTo>
                  <a:cubicBezTo>
                    <a:pt x="117176" y="79024"/>
                    <a:pt x="118588" y="80000"/>
                    <a:pt x="118588" y="80000"/>
                  </a:cubicBezTo>
                  <a:cubicBezTo>
                    <a:pt x="120000" y="75121"/>
                    <a:pt x="120000" y="75121"/>
                    <a:pt x="120000" y="75121"/>
                  </a:cubicBezTo>
                  <a:cubicBezTo>
                    <a:pt x="120000" y="66341"/>
                    <a:pt x="120000" y="66341"/>
                    <a:pt x="120000" y="66341"/>
                  </a:cubicBezTo>
                  <a:cubicBezTo>
                    <a:pt x="119294" y="52682"/>
                    <a:pt x="119294" y="52682"/>
                    <a:pt x="119294" y="52682"/>
                  </a:cubicBezTo>
                  <a:cubicBezTo>
                    <a:pt x="119294" y="52682"/>
                    <a:pt x="119294" y="52682"/>
                    <a:pt x="119294" y="52682"/>
                  </a:cubicBezTo>
                  <a:cubicBezTo>
                    <a:pt x="104470" y="55609"/>
                    <a:pt x="104470" y="55609"/>
                    <a:pt x="104470" y="55609"/>
                  </a:cubicBezTo>
                  <a:lnTo>
                    <a:pt x="94588" y="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7" name="Shape 1424">
              <a:extLst>
                <a:ext uri="{FF2B5EF4-FFF2-40B4-BE49-F238E27FC236}">
                  <a16:creationId xmlns:a16="http://schemas.microsoft.com/office/drawing/2014/main" id="{44FF5193-13EB-BDBE-E7B8-17999A99EB90}"/>
                </a:ext>
              </a:extLst>
            </p:cNvPr>
            <p:cNvSpPr/>
            <p:nvPr/>
          </p:nvSpPr>
          <p:spPr>
            <a:xfrm>
              <a:off x="7411350" y="2367189"/>
              <a:ext cx="249594" cy="246220"/>
            </a:xfrm>
            <a:custGeom>
              <a:avLst/>
              <a:gdLst/>
              <a:ahLst/>
              <a:cxnLst/>
              <a:rect l="0" t="0" r="0" b="0"/>
              <a:pathLst>
                <a:path w="120000" h="120000" extrusionOk="0">
                  <a:moveTo>
                    <a:pt x="17027" y="111780"/>
                  </a:moveTo>
                  <a:lnTo>
                    <a:pt x="19459" y="111780"/>
                  </a:lnTo>
                  <a:lnTo>
                    <a:pt x="20270" y="114246"/>
                  </a:lnTo>
                  <a:lnTo>
                    <a:pt x="25135" y="118356"/>
                  </a:lnTo>
                  <a:lnTo>
                    <a:pt x="29189" y="119999"/>
                  </a:lnTo>
                  <a:lnTo>
                    <a:pt x="30810" y="119999"/>
                  </a:lnTo>
                  <a:lnTo>
                    <a:pt x="35675" y="114246"/>
                  </a:lnTo>
                  <a:lnTo>
                    <a:pt x="38918" y="116712"/>
                  </a:lnTo>
                  <a:lnTo>
                    <a:pt x="46216" y="115068"/>
                  </a:lnTo>
                  <a:lnTo>
                    <a:pt x="51891" y="110136"/>
                  </a:lnTo>
                  <a:lnTo>
                    <a:pt x="60810" y="105205"/>
                  </a:lnTo>
                  <a:lnTo>
                    <a:pt x="64054" y="102739"/>
                  </a:lnTo>
                  <a:lnTo>
                    <a:pt x="63243" y="96164"/>
                  </a:lnTo>
                  <a:lnTo>
                    <a:pt x="64054" y="92054"/>
                  </a:lnTo>
                  <a:lnTo>
                    <a:pt x="68108" y="87945"/>
                  </a:lnTo>
                  <a:lnTo>
                    <a:pt x="70540" y="81369"/>
                  </a:lnTo>
                  <a:lnTo>
                    <a:pt x="72972" y="71506"/>
                  </a:lnTo>
                  <a:lnTo>
                    <a:pt x="73783" y="65753"/>
                  </a:lnTo>
                  <a:lnTo>
                    <a:pt x="77027" y="67397"/>
                  </a:lnTo>
                  <a:lnTo>
                    <a:pt x="81081" y="69041"/>
                  </a:lnTo>
                  <a:lnTo>
                    <a:pt x="82702" y="69863"/>
                  </a:lnTo>
                  <a:lnTo>
                    <a:pt x="83513" y="68219"/>
                  </a:lnTo>
                  <a:lnTo>
                    <a:pt x="85945" y="61643"/>
                  </a:lnTo>
                  <a:lnTo>
                    <a:pt x="87567" y="58356"/>
                  </a:lnTo>
                  <a:lnTo>
                    <a:pt x="88378" y="55068"/>
                  </a:lnTo>
                  <a:lnTo>
                    <a:pt x="89189" y="55068"/>
                  </a:lnTo>
                  <a:lnTo>
                    <a:pt x="91621" y="55068"/>
                  </a:lnTo>
                  <a:lnTo>
                    <a:pt x="92432" y="56712"/>
                  </a:lnTo>
                  <a:lnTo>
                    <a:pt x="96486" y="49315"/>
                  </a:lnTo>
                  <a:lnTo>
                    <a:pt x="98918" y="46849"/>
                  </a:lnTo>
                  <a:lnTo>
                    <a:pt x="100540" y="44383"/>
                  </a:lnTo>
                  <a:lnTo>
                    <a:pt x="102162" y="38630"/>
                  </a:lnTo>
                  <a:lnTo>
                    <a:pt x="102162" y="32054"/>
                  </a:lnTo>
                  <a:lnTo>
                    <a:pt x="109459" y="36164"/>
                  </a:lnTo>
                  <a:lnTo>
                    <a:pt x="114324" y="38630"/>
                  </a:lnTo>
                  <a:lnTo>
                    <a:pt x="115945" y="38630"/>
                  </a:lnTo>
                  <a:lnTo>
                    <a:pt x="118378" y="36164"/>
                  </a:lnTo>
                  <a:lnTo>
                    <a:pt x="120000" y="35342"/>
                  </a:lnTo>
                  <a:lnTo>
                    <a:pt x="119189" y="35342"/>
                  </a:lnTo>
                  <a:lnTo>
                    <a:pt x="117567" y="29589"/>
                  </a:lnTo>
                  <a:lnTo>
                    <a:pt x="114324" y="25479"/>
                  </a:lnTo>
                  <a:lnTo>
                    <a:pt x="105405" y="23013"/>
                  </a:lnTo>
                  <a:lnTo>
                    <a:pt x="99729" y="25479"/>
                  </a:lnTo>
                  <a:lnTo>
                    <a:pt x="97297" y="25479"/>
                  </a:lnTo>
                  <a:lnTo>
                    <a:pt x="92432" y="28767"/>
                  </a:lnTo>
                  <a:lnTo>
                    <a:pt x="91621" y="27945"/>
                  </a:lnTo>
                  <a:lnTo>
                    <a:pt x="90810" y="27945"/>
                  </a:lnTo>
                  <a:lnTo>
                    <a:pt x="86756" y="32876"/>
                  </a:lnTo>
                  <a:lnTo>
                    <a:pt x="82702" y="32876"/>
                  </a:lnTo>
                  <a:lnTo>
                    <a:pt x="76216" y="41095"/>
                  </a:lnTo>
                  <a:lnTo>
                    <a:pt x="73783" y="41095"/>
                  </a:lnTo>
                  <a:lnTo>
                    <a:pt x="71351" y="27123"/>
                  </a:lnTo>
                  <a:lnTo>
                    <a:pt x="46216" y="32054"/>
                  </a:lnTo>
                  <a:lnTo>
                    <a:pt x="41351" y="0"/>
                  </a:lnTo>
                  <a:lnTo>
                    <a:pt x="38918" y="0"/>
                  </a:lnTo>
                  <a:lnTo>
                    <a:pt x="38108" y="2465"/>
                  </a:lnTo>
                  <a:lnTo>
                    <a:pt x="38918" y="4931"/>
                  </a:lnTo>
                  <a:lnTo>
                    <a:pt x="38918" y="5753"/>
                  </a:lnTo>
                  <a:lnTo>
                    <a:pt x="38918" y="12328"/>
                  </a:lnTo>
                  <a:lnTo>
                    <a:pt x="38918" y="15616"/>
                  </a:lnTo>
                  <a:lnTo>
                    <a:pt x="38108" y="18082"/>
                  </a:lnTo>
                  <a:lnTo>
                    <a:pt x="38108" y="23013"/>
                  </a:lnTo>
                  <a:lnTo>
                    <a:pt x="37297" y="29589"/>
                  </a:lnTo>
                  <a:lnTo>
                    <a:pt x="37297" y="32054"/>
                  </a:lnTo>
                  <a:lnTo>
                    <a:pt x="35675" y="36164"/>
                  </a:lnTo>
                  <a:lnTo>
                    <a:pt x="29189" y="41917"/>
                  </a:lnTo>
                  <a:lnTo>
                    <a:pt x="26756" y="45205"/>
                  </a:lnTo>
                  <a:lnTo>
                    <a:pt x="22702" y="45205"/>
                  </a:lnTo>
                  <a:lnTo>
                    <a:pt x="19459" y="50136"/>
                  </a:lnTo>
                  <a:lnTo>
                    <a:pt x="17027" y="53424"/>
                  </a:lnTo>
                  <a:lnTo>
                    <a:pt x="16216" y="61643"/>
                  </a:lnTo>
                  <a:lnTo>
                    <a:pt x="15405" y="62465"/>
                  </a:lnTo>
                  <a:lnTo>
                    <a:pt x="12162" y="59999"/>
                  </a:lnTo>
                  <a:lnTo>
                    <a:pt x="9729" y="62465"/>
                  </a:lnTo>
                  <a:lnTo>
                    <a:pt x="7297" y="71506"/>
                  </a:lnTo>
                  <a:lnTo>
                    <a:pt x="7297" y="74794"/>
                  </a:lnTo>
                  <a:lnTo>
                    <a:pt x="5675" y="77260"/>
                  </a:lnTo>
                  <a:lnTo>
                    <a:pt x="2432" y="80547"/>
                  </a:lnTo>
                  <a:lnTo>
                    <a:pt x="0" y="83013"/>
                  </a:lnTo>
                  <a:lnTo>
                    <a:pt x="2432" y="93698"/>
                  </a:lnTo>
                  <a:lnTo>
                    <a:pt x="4054" y="98630"/>
                  </a:lnTo>
                  <a:lnTo>
                    <a:pt x="8108" y="104383"/>
                  </a:lnTo>
                  <a:lnTo>
                    <a:pt x="12162" y="108493"/>
                  </a:lnTo>
                  <a:lnTo>
                    <a:pt x="15405" y="113424"/>
                  </a:lnTo>
                  <a:lnTo>
                    <a:pt x="16216" y="113424"/>
                  </a:lnTo>
                  <a:lnTo>
                    <a:pt x="17027" y="111780"/>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8" name="Shape 1425">
              <a:extLst>
                <a:ext uri="{FF2B5EF4-FFF2-40B4-BE49-F238E27FC236}">
                  <a16:creationId xmlns:a16="http://schemas.microsoft.com/office/drawing/2014/main" id="{52FE5759-1B4F-C0EF-8B22-76636023F91A}"/>
                </a:ext>
              </a:extLst>
            </p:cNvPr>
            <p:cNvSpPr/>
            <p:nvPr/>
          </p:nvSpPr>
          <p:spPr>
            <a:xfrm>
              <a:off x="7045392" y="2498731"/>
              <a:ext cx="397999" cy="205745"/>
            </a:xfrm>
            <a:custGeom>
              <a:avLst/>
              <a:gdLst/>
              <a:ahLst/>
              <a:cxnLst/>
              <a:rect l="0" t="0" r="0" b="0"/>
              <a:pathLst>
                <a:path w="120000" h="120000" extrusionOk="0">
                  <a:moveTo>
                    <a:pt x="102711" y="92459"/>
                  </a:moveTo>
                  <a:lnTo>
                    <a:pt x="105254" y="89508"/>
                  </a:lnTo>
                  <a:lnTo>
                    <a:pt x="106779" y="87540"/>
                  </a:lnTo>
                  <a:lnTo>
                    <a:pt x="108813" y="86557"/>
                  </a:lnTo>
                  <a:lnTo>
                    <a:pt x="110338" y="77704"/>
                  </a:lnTo>
                  <a:lnTo>
                    <a:pt x="111864" y="72786"/>
                  </a:lnTo>
                  <a:lnTo>
                    <a:pt x="117457" y="68852"/>
                  </a:lnTo>
                  <a:lnTo>
                    <a:pt x="119491" y="62950"/>
                  </a:lnTo>
                  <a:lnTo>
                    <a:pt x="120000" y="59016"/>
                  </a:lnTo>
                  <a:lnTo>
                    <a:pt x="117966" y="53114"/>
                  </a:lnTo>
                  <a:lnTo>
                    <a:pt x="115423" y="48196"/>
                  </a:lnTo>
                  <a:lnTo>
                    <a:pt x="112881" y="41311"/>
                  </a:lnTo>
                  <a:lnTo>
                    <a:pt x="111864" y="35409"/>
                  </a:lnTo>
                  <a:lnTo>
                    <a:pt x="110338" y="22622"/>
                  </a:lnTo>
                  <a:lnTo>
                    <a:pt x="110847" y="21639"/>
                  </a:lnTo>
                  <a:lnTo>
                    <a:pt x="109322" y="21639"/>
                  </a:lnTo>
                  <a:lnTo>
                    <a:pt x="107288" y="17704"/>
                  </a:lnTo>
                  <a:lnTo>
                    <a:pt x="105254" y="12786"/>
                  </a:lnTo>
                  <a:lnTo>
                    <a:pt x="103728" y="9836"/>
                  </a:lnTo>
                  <a:lnTo>
                    <a:pt x="103220" y="10819"/>
                  </a:lnTo>
                  <a:lnTo>
                    <a:pt x="102203" y="11803"/>
                  </a:lnTo>
                  <a:lnTo>
                    <a:pt x="101186" y="14754"/>
                  </a:lnTo>
                  <a:lnTo>
                    <a:pt x="100677" y="15737"/>
                  </a:lnTo>
                  <a:lnTo>
                    <a:pt x="97627" y="16721"/>
                  </a:lnTo>
                  <a:lnTo>
                    <a:pt x="95084" y="14754"/>
                  </a:lnTo>
                  <a:lnTo>
                    <a:pt x="93559" y="12786"/>
                  </a:lnTo>
                  <a:lnTo>
                    <a:pt x="93050" y="13770"/>
                  </a:lnTo>
                  <a:lnTo>
                    <a:pt x="92033" y="15737"/>
                  </a:lnTo>
                  <a:lnTo>
                    <a:pt x="92033" y="16721"/>
                  </a:lnTo>
                  <a:lnTo>
                    <a:pt x="90508" y="17704"/>
                  </a:lnTo>
                  <a:lnTo>
                    <a:pt x="89491" y="15737"/>
                  </a:lnTo>
                  <a:lnTo>
                    <a:pt x="88474" y="14754"/>
                  </a:lnTo>
                  <a:lnTo>
                    <a:pt x="86949" y="13770"/>
                  </a:lnTo>
                  <a:lnTo>
                    <a:pt x="84406" y="12786"/>
                  </a:lnTo>
                  <a:lnTo>
                    <a:pt x="83898" y="10819"/>
                  </a:lnTo>
                  <a:lnTo>
                    <a:pt x="82881" y="6885"/>
                  </a:lnTo>
                  <a:lnTo>
                    <a:pt x="80847" y="3934"/>
                  </a:lnTo>
                  <a:lnTo>
                    <a:pt x="78305" y="0"/>
                  </a:lnTo>
                  <a:lnTo>
                    <a:pt x="77796" y="983"/>
                  </a:lnTo>
                  <a:lnTo>
                    <a:pt x="75254" y="2950"/>
                  </a:lnTo>
                  <a:lnTo>
                    <a:pt x="72711" y="983"/>
                  </a:lnTo>
                  <a:lnTo>
                    <a:pt x="71694" y="1967"/>
                  </a:lnTo>
                  <a:lnTo>
                    <a:pt x="72203" y="5901"/>
                  </a:lnTo>
                  <a:lnTo>
                    <a:pt x="73220" y="6885"/>
                  </a:lnTo>
                  <a:lnTo>
                    <a:pt x="72711" y="8852"/>
                  </a:lnTo>
                  <a:lnTo>
                    <a:pt x="73220" y="14754"/>
                  </a:lnTo>
                  <a:lnTo>
                    <a:pt x="72203" y="16721"/>
                  </a:lnTo>
                  <a:lnTo>
                    <a:pt x="70169" y="16721"/>
                  </a:lnTo>
                  <a:lnTo>
                    <a:pt x="68135" y="18688"/>
                  </a:lnTo>
                  <a:lnTo>
                    <a:pt x="64067" y="19672"/>
                  </a:lnTo>
                  <a:lnTo>
                    <a:pt x="63559" y="20655"/>
                  </a:lnTo>
                  <a:lnTo>
                    <a:pt x="63559" y="22622"/>
                  </a:lnTo>
                  <a:lnTo>
                    <a:pt x="63050" y="24590"/>
                  </a:lnTo>
                  <a:lnTo>
                    <a:pt x="63050" y="28524"/>
                  </a:lnTo>
                  <a:lnTo>
                    <a:pt x="62033" y="32459"/>
                  </a:lnTo>
                  <a:lnTo>
                    <a:pt x="61016" y="36393"/>
                  </a:lnTo>
                  <a:lnTo>
                    <a:pt x="60000" y="38360"/>
                  </a:lnTo>
                  <a:lnTo>
                    <a:pt x="58474" y="38360"/>
                  </a:lnTo>
                  <a:lnTo>
                    <a:pt x="56949" y="43278"/>
                  </a:lnTo>
                  <a:lnTo>
                    <a:pt x="56949" y="46229"/>
                  </a:lnTo>
                  <a:lnTo>
                    <a:pt x="55932" y="50163"/>
                  </a:lnTo>
                  <a:lnTo>
                    <a:pt x="52881" y="51147"/>
                  </a:lnTo>
                  <a:lnTo>
                    <a:pt x="52372" y="50163"/>
                  </a:lnTo>
                  <a:lnTo>
                    <a:pt x="50847" y="47213"/>
                  </a:lnTo>
                  <a:lnTo>
                    <a:pt x="50338" y="43278"/>
                  </a:lnTo>
                  <a:lnTo>
                    <a:pt x="49322" y="43278"/>
                  </a:lnTo>
                  <a:lnTo>
                    <a:pt x="48813" y="47213"/>
                  </a:lnTo>
                  <a:lnTo>
                    <a:pt x="47288" y="50163"/>
                  </a:lnTo>
                  <a:lnTo>
                    <a:pt x="47288" y="54098"/>
                  </a:lnTo>
                  <a:lnTo>
                    <a:pt x="46779" y="57049"/>
                  </a:lnTo>
                  <a:lnTo>
                    <a:pt x="44745" y="56065"/>
                  </a:lnTo>
                  <a:lnTo>
                    <a:pt x="43728" y="54098"/>
                  </a:lnTo>
                  <a:lnTo>
                    <a:pt x="41694" y="54098"/>
                  </a:lnTo>
                  <a:lnTo>
                    <a:pt x="40677" y="55081"/>
                  </a:lnTo>
                  <a:lnTo>
                    <a:pt x="38644" y="56065"/>
                  </a:lnTo>
                  <a:lnTo>
                    <a:pt x="38644" y="60000"/>
                  </a:lnTo>
                  <a:lnTo>
                    <a:pt x="38135" y="60983"/>
                  </a:lnTo>
                  <a:lnTo>
                    <a:pt x="36101" y="59016"/>
                  </a:lnTo>
                  <a:lnTo>
                    <a:pt x="34576" y="56065"/>
                  </a:lnTo>
                  <a:lnTo>
                    <a:pt x="32033" y="56065"/>
                  </a:lnTo>
                  <a:lnTo>
                    <a:pt x="30508" y="56065"/>
                  </a:lnTo>
                  <a:lnTo>
                    <a:pt x="28983" y="60000"/>
                  </a:lnTo>
                  <a:lnTo>
                    <a:pt x="24915" y="60000"/>
                  </a:lnTo>
                  <a:lnTo>
                    <a:pt x="24915" y="64918"/>
                  </a:lnTo>
                  <a:lnTo>
                    <a:pt x="23389" y="64918"/>
                  </a:lnTo>
                  <a:lnTo>
                    <a:pt x="21864" y="65901"/>
                  </a:lnTo>
                  <a:lnTo>
                    <a:pt x="21864" y="69836"/>
                  </a:lnTo>
                  <a:lnTo>
                    <a:pt x="21864" y="70819"/>
                  </a:lnTo>
                  <a:lnTo>
                    <a:pt x="21864" y="73770"/>
                  </a:lnTo>
                  <a:lnTo>
                    <a:pt x="22372" y="76721"/>
                  </a:lnTo>
                  <a:lnTo>
                    <a:pt x="21355" y="77704"/>
                  </a:lnTo>
                  <a:lnTo>
                    <a:pt x="18305" y="79672"/>
                  </a:lnTo>
                  <a:lnTo>
                    <a:pt x="16779" y="81639"/>
                  </a:lnTo>
                  <a:lnTo>
                    <a:pt x="16779" y="86557"/>
                  </a:lnTo>
                  <a:lnTo>
                    <a:pt x="17796" y="91475"/>
                  </a:lnTo>
                  <a:lnTo>
                    <a:pt x="16779" y="92459"/>
                  </a:lnTo>
                  <a:lnTo>
                    <a:pt x="15254" y="92459"/>
                  </a:lnTo>
                  <a:lnTo>
                    <a:pt x="13728" y="92459"/>
                  </a:lnTo>
                  <a:lnTo>
                    <a:pt x="11694" y="89508"/>
                  </a:lnTo>
                  <a:lnTo>
                    <a:pt x="9661" y="87540"/>
                  </a:lnTo>
                  <a:lnTo>
                    <a:pt x="8644" y="88524"/>
                  </a:lnTo>
                  <a:lnTo>
                    <a:pt x="7118" y="91475"/>
                  </a:lnTo>
                  <a:lnTo>
                    <a:pt x="5593" y="92459"/>
                  </a:lnTo>
                  <a:lnTo>
                    <a:pt x="5084" y="95409"/>
                  </a:lnTo>
                  <a:lnTo>
                    <a:pt x="5084" y="98360"/>
                  </a:lnTo>
                  <a:lnTo>
                    <a:pt x="7118" y="100327"/>
                  </a:lnTo>
                  <a:lnTo>
                    <a:pt x="7118" y="102295"/>
                  </a:lnTo>
                  <a:lnTo>
                    <a:pt x="7118" y="105245"/>
                  </a:lnTo>
                  <a:lnTo>
                    <a:pt x="7118" y="110163"/>
                  </a:lnTo>
                  <a:lnTo>
                    <a:pt x="6101" y="113114"/>
                  </a:lnTo>
                  <a:lnTo>
                    <a:pt x="5084" y="114098"/>
                  </a:lnTo>
                  <a:lnTo>
                    <a:pt x="3559" y="114098"/>
                  </a:lnTo>
                  <a:lnTo>
                    <a:pt x="2542" y="115081"/>
                  </a:lnTo>
                  <a:lnTo>
                    <a:pt x="2542" y="115081"/>
                  </a:lnTo>
                  <a:lnTo>
                    <a:pt x="2033" y="115081"/>
                  </a:lnTo>
                  <a:lnTo>
                    <a:pt x="0" y="115081"/>
                  </a:lnTo>
                  <a:lnTo>
                    <a:pt x="0" y="116065"/>
                  </a:lnTo>
                  <a:lnTo>
                    <a:pt x="0" y="119016"/>
                  </a:lnTo>
                  <a:lnTo>
                    <a:pt x="0" y="120000"/>
                  </a:lnTo>
                  <a:lnTo>
                    <a:pt x="1016" y="119016"/>
                  </a:lnTo>
                  <a:lnTo>
                    <a:pt x="26440" y="118032"/>
                  </a:lnTo>
                  <a:lnTo>
                    <a:pt x="25423" y="109180"/>
                  </a:lnTo>
                  <a:lnTo>
                    <a:pt x="72711" y="103278"/>
                  </a:lnTo>
                  <a:lnTo>
                    <a:pt x="97627" y="98360"/>
                  </a:lnTo>
                  <a:lnTo>
                    <a:pt x="100677" y="95409"/>
                  </a:lnTo>
                  <a:lnTo>
                    <a:pt x="102711" y="92459"/>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49" name="Shape 1426">
              <a:extLst>
                <a:ext uri="{FF2B5EF4-FFF2-40B4-BE49-F238E27FC236}">
                  <a16:creationId xmlns:a16="http://schemas.microsoft.com/office/drawing/2014/main" id="{1CC27066-1E67-DD0B-E7F7-437E36ECE7A5}"/>
                </a:ext>
              </a:extLst>
            </p:cNvPr>
            <p:cNvSpPr/>
            <p:nvPr/>
          </p:nvSpPr>
          <p:spPr>
            <a:xfrm>
              <a:off x="6706417" y="2426214"/>
              <a:ext cx="362584" cy="315364"/>
            </a:xfrm>
            <a:custGeom>
              <a:avLst/>
              <a:gdLst/>
              <a:ahLst/>
              <a:cxnLst/>
              <a:rect l="0" t="0" r="0" b="0"/>
              <a:pathLst>
                <a:path w="120000" h="120000" extrusionOk="0">
                  <a:moveTo>
                    <a:pt x="112440" y="104796"/>
                  </a:moveTo>
                  <a:cubicBezTo>
                    <a:pt x="112440" y="103167"/>
                    <a:pt x="112440" y="103167"/>
                    <a:pt x="112440" y="103167"/>
                  </a:cubicBezTo>
                  <a:cubicBezTo>
                    <a:pt x="112440" y="102624"/>
                    <a:pt x="112440" y="102624"/>
                    <a:pt x="112440" y="102624"/>
                  </a:cubicBezTo>
                  <a:cubicBezTo>
                    <a:pt x="114330" y="102624"/>
                    <a:pt x="114330" y="102624"/>
                    <a:pt x="114330" y="102624"/>
                  </a:cubicBezTo>
                  <a:cubicBezTo>
                    <a:pt x="114803" y="102624"/>
                    <a:pt x="114803" y="102624"/>
                    <a:pt x="114803" y="102624"/>
                  </a:cubicBezTo>
                  <a:cubicBezTo>
                    <a:pt x="115275" y="102081"/>
                    <a:pt x="115275" y="102081"/>
                    <a:pt x="115275" y="102081"/>
                  </a:cubicBezTo>
                  <a:cubicBezTo>
                    <a:pt x="116220" y="101538"/>
                    <a:pt x="116220" y="101538"/>
                    <a:pt x="116220" y="101538"/>
                  </a:cubicBezTo>
                  <a:cubicBezTo>
                    <a:pt x="117637" y="101538"/>
                    <a:pt x="117637" y="101538"/>
                    <a:pt x="117637" y="101538"/>
                  </a:cubicBezTo>
                  <a:cubicBezTo>
                    <a:pt x="119055" y="100995"/>
                    <a:pt x="119055" y="100995"/>
                    <a:pt x="119055" y="100995"/>
                  </a:cubicBezTo>
                  <a:cubicBezTo>
                    <a:pt x="120000" y="99366"/>
                    <a:pt x="120000" y="99366"/>
                    <a:pt x="120000" y="99366"/>
                  </a:cubicBezTo>
                  <a:cubicBezTo>
                    <a:pt x="120000" y="96108"/>
                    <a:pt x="120000" y="96108"/>
                    <a:pt x="120000" y="96108"/>
                  </a:cubicBezTo>
                  <a:cubicBezTo>
                    <a:pt x="120000" y="93936"/>
                    <a:pt x="120000" y="93936"/>
                    <a:pt x="120000" y="93936"/>
                  </a:cubicBezTo>
                  <a:cubicBezTo>
                    <a:pt x="120000" y="92850"/>
                    <a:pt x="120000" y="92850"/>
                    <a:pt x="120000" y="92850"/>
                  </a:cubicBezTo>
                  <a:cubicBezTo>
                    <a:pt x="118110" y="91221"/>
                    <a:pt x="118110" y="91221"/>
                    <a:pt x="118110" y="91221"/>
                  </a:cubicBezTo>
                  <a:cubicBezTo>
                    <a:pt x="118110" y="89592"/>
                    <a:pt x="118110" y="89592"/>
                    <a:pt x="118110" y="89592"/>
                  </a:cubicBezTo>
                  <a:cubicBezTo>
                    <a:pt x="118582" y="87420"/>
                    <a:pt x="118582" y="87420"/>
                    <a:pt x="118582" y="87420"/>
                  </a:cubicBezTo>
                  <a:cubicBezTo>
                    <a:pt x="116220" y="87420"/>
                    <a:pt x="116220" y="87420"/>
                    <a:pt x="116220" y="87420"/>
                  </a:cubicBezTo>
                  <a:cubicBezTo>
                    <a:pt x="114803" y="90135"/>
                    <a:pt x="114803" y="90135"/>
                    <a:pt x="114803" y="90135"/>
                  </a:cubicBezTo>
                  <a:cubicBezTo>
                    <a:pt x="114803" y="87420"/>
                    <a:pt x="114803" y="87420"/>
                    <a:pt x="114803" y="87420"/>
                  </a:cubicBezTo>
                  <a:cubicBezTo>
                    <a:pt x="112440" y="84705"/>
                    <a:pt x="112440" y="84705"/>
                    <a:pt x="112440" y="84705"/>
                  </a:cubicBezTo>
                  <a:cubicBezTo>
                    <a:pt x="112913" y="82533"/>
                    <a:pt x="112913" y="82533"/>
                    <a:pt x="112913" y="82533"/>
                  </a:cubicBezTo>
                  <a:cubicBezTo>
                    <a:pt x="113385" y="79276"/>
                    <a:pt x="113385" y="79276"/>
                    <a:pt x="113385" y="79276"/>
                  </a:cubicBezTo>
                  <a:cubicBezTo>
                    <a:pt x="111496" y="73303"/>
                    <a:pt x="111496" y="73303"/>
                    <a:pt x="111496" y="73303"/>
                  </a:cubicBezTo>
                  <a:cubicBezTo>
                    <a:pt x="109606" y="71131"/>
                    <a:pt x="109606" y="71131"/>
                    <a:pt x="109606" y="71131"/>
                  </a:cubicBezTo>
                  <a:cubicBezTo>
                    <a:pt x="103464" y="66244"/>
                    <a:pt x="103464" y="66244"/>
                    <a:pt x="103464" y="66244"/>
                  </a:cubicBezTo>
                  <a:cubicBezTo>
                    <a:pt x="102047" y="67330"/>
                    <a:pt x="102047" y="67330"/>
                    <a:pt x="102047" y="67330"/>
                  </a:cubicBezTo>
                  <a:cubicBezTo>
                    <a:pt x="98267" y="64072"/>
                    <a:pt x="98267" y="64072"/>
                    <a:pt x="98267" y="64072"/>
                  </a:cubicBezTo>
                  <a:cubicBezTo>
                    <a:pt x="95433" y="60814"/>
                    <a:pt x="95433" y="60814"/>
                    <a:pt x="95433" y="60814"/>
                  </a:cubicBezTo>
                  <a:cubicBezTo>
                    <a:pt x="95433" y="57556"/>
                    <a:pt x="95433" y="57556"/>
                    <a:pt x="95433" y="57556"/>
                  </a:cubicBezTo>
                  <a:cubicBezTo>
                    <a:pt x="96377" y="54298"/>
                    <a:pt x="96377" y="54298"/>
                    <a:pt x="96377" y="54298"/>
                  </a:cubicBezTo>
                  <a:cubicBezTo>
                    <a:pt x="96850" y="52126"/>
                    <a:pt x="96850" y="52126"/>
                    <a:pt x="96850" y="52126"/>
                  </a:cubicBezTo>
                  <a:cubicBezTo>
                    <a:pt x="97322" y="49411"/>
                    <a:pt x="97322" y="49411"/>
                    <a:pt x="97322" y="49411"/>
                  </a:cubicBezTo>
                  <a:cubicBezTo>
                    <a:pt x="98740" y="45610"/>
                    <a:pt x="98740" y="45610"/>
                    <a:pt x="98740" y="45610"/>
                  </a:cubicBezTo>
                  <a:cubicBezTo>
                    <a:pt x="97322" y="43438"/>
                    <a:pt x="97322" y="43438"/>
                    <a:pt x="97322" y="43438"/>
                  </a:cubicBezTo>
                  <a:cubicBezTo>
                    <a:pt x="95433" y="41266"/>
                    <a:pt x="95433" y="41266"/>
                    <a:pt x="95433" y="41266"/>
                  </a:cubicBezTo>
                  <a:cubicBezTo>
                    <a:pt x="92598" y="41266"/>
                    <a:pt x="92598" y="41266"/>
                    <a:pt x="92598" y="41266"/>
                  </a:cubicBezTo>
                  <a:cubicBezTo>
                    <a:pt x="91181" y="42352"/>
                    <a:pt x="91181" y="42352"/>
                    <a:pt x="91181" y="42352"/>
                  </a:cubicBezTo>
                  <a:cubicBezTo>
                    <a:pt x="90236" y="43981"/>
                    <a:pt x="90236" y="43981"/>
                    <a:pt x="90236" y="43981"/>
                  </a:cubicBezTo>
                  <a:cubicBezTo>
                    <a:pt x="87874" y="41266"/>
                    <a:pt x="87874" y="41266"/>
                    <a:pt x="87874" y="41266"/>
                  </a:cubicBezTo>
                  <a:cubicBezTo>
                    <a:pt x="87874" y="36380"/>
                    <a:pt x="87874" y="36380"/>
                    <a:pt x="87874" y="36380"/>
                  </a:cubicBezTo>
                  <a:cubicBezTo>
                    <a:pt x="85511" y="32579"/>
                    <a:pt x="85511" y="32579"/>
                    <a:pt x="85511" y="32579"/>
                  </a:cubicBezTo>
                  <a:cubicBezTo>
                    <a:pt x="77007" y="24434"/>
                    <a:pt x="77007" y="24434"/>
                    <a:pt x="77007" y="24434"/>
                  </a:cubicBezTo>
                  <a:cubicBezTo>
                    <a:pt x="73700" y="17918"/>
                    <a:pt x="73700" y="17918"/>
                    <a:pt x="73700" y="17918"/>
                  </a:cubicBezTo>
                  <a:cubicBezTo>
                    <a:pt x="73700" y="11945"/>
                    <a:pt x="73700" y="11945"/>
                    <a:pt x="73700" y="11945"/>
                  </a:cubicBezTo>
                  <a:cubicBezTo>
                    <a:pt x="73700" y="5972"/>
                    <a:pt x="73700" y="5972"/>
                    <a:pt x="73700" y="5972"/>
                  </a:cubicBezTo>
                  <a:cubicBezTo>
                    <a:pt x="74645" y="5429"/>
                    <a:pt x="74645" y="5429"/>
                    <a:pt x="74645" y="5429"/>
                  </a:cubicBezTo>
                  <a:cubicBezTo>
                    <a:pt x="68976" y="0"/>
                    <a:pt x="68976" y="0"/>
                    <a:pt x="68976" y="0"/>
                  </a:cubicBezTo>
                  <a:cubicBezTo>
                    <a:pt x="0" y="1085"/>
                    <a:pt x="0" y="1085"/>
                    <a:pt x="0" y="1085"/>
                  </a:cubicBezTo>
                  <a:cubicBezTo>
                    <a:pt x="472" y="2171"/>
                    <a:pt x="472" y="2171"/>
                    <a:pt x="472" y="2171"/>
                  </a:cubicBezTo>
                  <a:cubicBezTo>
                    <a:pt x="1889" y="3257"/>
                    <a:pt x="1889" y="3257"/>
                    <a:pt x="1889" y="3257"/>
                  </a:cubicBezTo>
                  <a:cubicBezTo>
                    <a:pt x="2362" y="5972"/>
                    <a:pt x="2362" y="5972"/>
                    <a:pt x="2362" y="5972"/>
                  </a:cubicBezTo>
                  <a:cubicBezTo>
                    <a:pt x="1417" y="7058"/>
                    <a:pt x="1417" y="7058"/>
                    <a:pt x="1417" y="7058"/>
                  </a:cubicBezTo>
                  <a:cubicBezTo>
                    <a:pt x="2362" y="8687"/>
                    <a:pt x="2362" y="8687"/>
                    <a:pt x="2362" y="8687"/>
                  </a:cubicBezTo>
                  <a:cubicBezTo>
                    <a:pt x="2362" y="8687"/>
                    <a:pt x="1889" y="8687"/>
                    <a:pt x="2362" y="9230"/>
                  </a:cubicBezTo>
                  <a:cubicBezTo>
                    <a:pt x="2834" y="9773"/>
                    <a:pt x="5196" y="10316"/>
                    <a:pt x="5196" y="10316"/>
                  </a:cubicBezTo>
                  <a:cubicBezTo>
                    <a:pt x="5669" y="13574"/>
                    <a:pt x="5669" y="13574"/>
                    <a:pt x="5669" y="13574"/>
                  </a:cubicBezTo>
                  <a:cubicBezTo>
                    <a:pt x="6614" y="15746"/>
                    <a:pt x="6614" y="15746"/>
                    <a:pt x="6614" y="15746"/>
                  </a:cubicBezTo>
                  <a:cubicBezTo>
                    <a:pt x="6614" y="15746"/>
                    <a:pt x="6614" y="15746"/>
                    <a:pt x="6614" y="15746"/>
                  </a:cubicBezTo>
                  <a:cubicBezTo>
                    <a:pt x="8503" y="19004"/>
                    <a:pt x="8503" y="19004"/>
                    <a:pt x="8503" y="19004"/>
                  </a:cubicBezTo>
                  <a:cubicBezTo>
                    <a:pt x="9448" y="21176"/>
                    <a:pt x="9448" y="21176"/>
                    <a:pt x="9448" y="21176"/>
                  </a:cubicBezTo>
                  <a:cubicBezTo>
                    <a:pt x="13700" y="21176"/>
                    <a:pt x="13700" y="21176"/>
                    <a:pt x="13700" y="21176"/>
                  </a:cubicBezTo>
                  <a:cubicBezTo>
                    <a:pt x="14645" y="21176"/>
                    <a:pt x="14645" y="21176"/>
                    <a:pt x="14645" y="21176"/>
                  </a:cubicBezTo>
                  <a:cubicBezTo>
                    <a:pt x="14645" y="23891"/>
                    <a:pt x="14645" y="23891"/>
                    <a:pt x="14645" y="23891"/>
                  </a:cubicBezTo>
                  <a:cubicBezTo>
                    <a:pt x="13228" y="27149"/>
                    <a:pt x="13228" y="27149"/>
                    <a:pt x="13228" y="27149"/>
                  </a:cubicBezTo>
                  <a:cubicBezTo>
                    <a:pt x="11811" y="29864"/>
                    <a:pt x="11811" y="29864"/>
                    <a:pt x="11811" y="29864"/>
                  </a:cubicBezTo>
                  <a:cubicBezTo>
                    <a:pt x="14645" y="33122"/>
                    <a:pt x="14645" y="33122"/>
                    <a:pt x="14645" y="33122"/>
                  </a:cubicBezTo>
                  <a:cubicBezTo>
                    <a:pt x="15590" y="36380"/>
                    <a:pt x="15590" y="36380"/>
                    <a:pt x="15590" y="36380"/>
                  </a:cubicBezTo>
                  <a:cubicBezTo>
                    <a:pt x="17007" y="37466"/>
                    <a:pt x="17007" y="37466"/>
                    <a:pt x="17007" y="37466"/>
                  </a:cubicBezTo>
                  <a:cubicBezTo>
                    <a:pt x="19842" y="39095"/>
                    <a:pt x="19842" y="39095"/>
                    <a:pt x="19842" y="39095"/>
                  </a:cubicBezTo>
                  <a:cubicBezTo>
                    <a:pt x="19842" y="95565"/>
                    <a:pt x="19842" y="95565"/>
                    <a:pt x="19842" y="95565"/>
                  </a:cubicBezTo>
                  <a:cubicBezTo>
                    <a:pt x="19842" y="109140"/>
                    <a:pt x="19842" y="109140"/>
                    <a:pt x="19842" y="109140"/>
                  </a:cubicBezTo>
                  <a:cubicBezTo>
                    <a:pt x="101574" y="106968"/>
                    <a:pt x="101574" y="106968"/>
                    <a:pt x="101574" y="106968"/>
                  </a:cubicBezTo>
                  <a:cubicBezTo>
                    <a:pt x="102047" y="110226"/>
                    <a:pt x="102047" y="110226"/>
                    <a:pt x="102047" y="110226"/>
                  </a:cubicBezTo>
                  <a:cubicBezTo>
                    <a:pt x="96850" y="120000"/>
                    <a:pt x="96850" y="120000"/>
                    <a:pt x="96850" y="120000"/>
                  </a:cubicBezTo>
                  <a:cubicBezTo>
                    <a:pt x="110078" y="118914"/>
                    <a:pt x="110078" y="118914"/>
                    <a:pt x="110078" y="118914"/>
                  </a:cubicBezTo>
                  <a:cubicBezTo>
                    <a:pt x="110551" y="117285"/>
                    <a:pt x="110551" y="117285"/>
                    <a:pt x="110551" y="117285"/>
                  </a:cubicBezTo>
                  <a:cubicBezTo>
                    <a:pt x="111496" y="115656"/>
                    <a:pt x="111496" y="115656"/>
                    <a:pt x="111496" y="115656"/>
                  </a:cubicBezTo>
                  <a:cubicBezTo>
                    <a:pt x="111496" y="115656"/>
                    <a:pt x="112440" y="115113"/>
                    <a:pt x="111968" y="114570"/>
                  </a:cubicBezTo>
                  <a:cubicBezTo>
                    <a:pt x="111968" y="114027"/>
                    <a:pt x="111023" y="112398"/>
                    <a:pt x="111023" y="112398"/>
                  </a:cubicBezTo>
                  <a:cubicBezTo>
                    <a:pt x="110551" y="111855"/>
                    <a:pt x="110551" y="111855"/>
                    <a:pt x="110551" y="111855"/>
                  </a:cubicBezTo>
                  <a:cubicBezTo>
                    <a:pt x="111023" y="110769"/>
                    <a:pt x="111023" y="110769"/>
                    <a:pt x="111023" y="110769"/>
                  </a:cubicBezTo>
                  <a:cubicBezTo>
                    <a:pt x="111968" y="110226"/>
                    <a:pt x="111968" y="110226"/>
                    <a:pt x="111968" y="110226"/>
                  </a:cubicBezTo>
                  <a:cubicBezTo>
                    <a:pt x="112440" y="108597"/>
                    <a:pt x="112440" y="108597"/>
                    <a:pt x="112440" y="108597"/>
                  </a:cubicBezTo>
                  <a:cubicBezTo>
                    <a:pt x="112440" y="106968"/>
                    <a:pt x="112440" y="106968"/>
                    <a:pt x="112440" y="106968"/>
                  </a:cubicBezTo>
                  <a:cubicBezTo>
                    <a:pt x="112440" y="105339"/>
                    <a:pt x="112440" y="105339"/>
                    <a:pt x="112440" y="105339"/>
                  </a:cubicBezTo>
                  <a:lnTo>
                    <a:pt x="112440" y="104796"/>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0" name="Shape 1427">
              <a:extLst>
                <a:ext uri="{FF2B5EF4-FFF2-40B4-BE49-F238E27FC236}">
                  <a16:creationId xmlns:a16="http://schemas.microsoft.com/office/drawing/2014/main" id="{C3FD0C9C-D13A-563E-964B-4A1104480576}"/>
                </a:ext>
              </a:extLst>
            </p:cNvPr>
            <p:cNvSpPr/>
            <p:nvPr/>
          </p:nvSpPr>
          <p:spPr>
            <a:xfrm>
              <a:off x="6642332" y="1820781"/>
              <a:ext cx="350780" cy="408118"/>
            </a:xfrm>
            <a:custGeom>
              <a:avLst/>
              <a:gdLst/>
              <a:ahLst/>
              <a:cxnLst/>
              <a:rect l="0" t="0" r="0" b="0"/>
              <a:pathLst>
                <a:path w="120000" h="120000" extrusionOk="0">
                  <a:moveTo>
                    <a:pt x="73846" y="69917"/>
                  </a:moveTo>
                  <a:lnTo>
                    <a:pt x="80192" y="66942"/>
                  </a:lnTo>
                  <a:lnTo>
                    <a:pt x="80192" y="55041"/>
                  </a:lnTo>
                  <a:lnTo>
                    <a:pt x="83076" y="53057"/>
                  </a:lnTo>
                  <a:lnTo>
                    <a:pt x="92884" y="45123"/>
                  </a:lnTo>
                  <a:lnTo>
                    <a:pt x="97500" y="39669"/>
                  </a:lnTo>
                  <a:lnTo>
                    <a:pt x="106730" y="34214"/>
                  </a:lnTo>
                  <a:lnTo>
                    <a:pt x="120000" y="27272"/>
                  </a:lnTo>
                  <a:lnTo>
                    <a:pt x="115384" y="26280"/>
                  </a:lnTo>
                  <a:lnTo>
                    <a:pt x="105576" y="25785"/>
                  </a:lnTo>
                  <a:lnTo>
                    <a:pt x="97500" y="24297"/>
                  </a:lnTo>
                  <a:lnTo>
                    <a:pt x="95769" y="25785"/>
                  </a:lnTo>
                  <a:lnTo>
                    <a:pt x="93461" y="27272"/>
                  </a:lnTo>
                  <a:lnTo>
                    <a:pt x="88846" y="27272"/>
                  </a:lnTo>
                  <a:lnTo>
                    <a:pt x="87115" y="25289"/>
                  </a:lnTo>
                  <a:lnTo>
                    <a:pt x="84807" y="23801"/>
                  </a:lnTo>
                  <a:lnTo>
                    <a:pt x="78461" y="22314"/>
                  </a:lnTo>
                  <a:lnTo>
                    <a:pt x="76730" y="22314"/>
                  </a:lnTo>
                  <a:lnTo>
                    <a:pt x="74423" y="21322"/>
                  </a:lnTo>
                  <a:lnTo>
                    <a:pt x="73846" y="20826"/>
                  </a:lnTo>
                  <a:lnTo>
                    <a:pt x="68653" y="20330"/>
                  </a:lnTo>
                  <a:lnTo>
                    <a:pt x="65769" y="17851"/>
                  </a:lnTo>
                  <a:lnTo>
                    <a:pt x="69230" y="19338"/>
                  </a:lnTo>
                  <a:lnTo>
                    <a:pt x="70961" y="17851"/>
                  </a:lnTo>
                  <a:lnTo>
                    <a:pt x="68653" y="17355"/>
                  </a:lnTo>
                  <a:lnTo>
                    <a:pt x="65769" y="17355"/>
                  </a:lnTo>
                  <a:lnTo>
                    <a:pt x="62884" y="17355"/>
                  </a:lnTo>
                  <a:lnTo>
                    <a:pt x="60576" y="17355"/>
                  </a:lnTo>
                  <a:lnTo>
                    <a:pt x="57692" y="17355"/>
                  </a:lnTo>
                  <a:lnTo>
                    <a:pt x="55961" y="19338"/>
                  </a:lnTo>
                  <a:lnTo>
                    <a:pt x="53653" y="19338"/>
                  </a:lnTo>
                  <a:lnTo>
                    <a:pt x="50192" y="16859"/>
                  </a:lnTo>
                  <a:lnTo>
                    <a:pt x="48461" y="16859"/>
                  </a:lnTo>
                  <a:lnTo>
                    <a:pt x="46153" y="16859"/>
                  </a:lnTo>
                  <a:lnTo>
                    <a:pt x="42115" y="15867"/>
                  </a:lnTo>
                  <a:lnTo>
                    <a:pt x="39230" y="11900"/>
                  </a:lnTo>
                  <a:lnTo>
                    <a:pt x="39230" y="11900"/>
                  </a:lnTo>
                  <a:lnTo>
                    <a:pt x="38076" y="9917"/>
                  </a:lnTo>
                  <a:lnTo>
                    <a:pt x="35769" y="9917"/>
                  </a:lnTo>
                  <a:lnTo>
                    <a:pt x="33461" y="9917"/>
                  </a:lnTo>
                  <a:lnTo>
                    <a:pt x="31730" y="9917"/>
                  </a:lnTo>
                  <a:lnTo>
                    <a:pt x="31153" y="7933"/>
                  </a:lnTo>
                  <a:lnTo>
                    <a:pt x="32884" y="5950"/>
                  </a:lnTo>
                  <a:lnTo>
                    <a:pt x="33461" y="3966"/>
                  </a:lnTo>
                  <a:lnTo>
                    <a:pt x="35769" y="2479"/>
                  </a:lnTo>
                  <a:lnTo>
                    <a:pt x="34615" y="991"/>
                  </a:lnTo>
                  <a:lnTo>
                    <a:pt x="34615" y="991"/>
                  </a:lnTo>
                  <a:lnTo>
                    <a:pt x="32307" y="0"/>
                  </a:lnTo>
                  <a:lnTo>
                    <a:pt x="32307" y="4958"/>
                  </a:lnTo>
                  <a:lnTo>
                    <a:pt x="31153" y="5950"/>
                  </a:lnTo>
                  <a:lnTo>
                    <a:pt x="30000" y="7933"/>
                  </a:lnTo>
                  <a:lnTo>
                    <a:pt x="0" y="7933"/>
                  </a:lnTo>
                  <a:lnTo>
                    <a:pt x="576" y="9917"/>
                  </a:lnTo>
                  <a:lnTo>
                    <a:pt x="576" y="11404"/>
                  </a:lnTo>
                  <a:lnTo>
                    <a:pt x="576" y="11900"/>
                  </a:lnTo>
                  <a:lnTo>
                    <a:pt x="2307" y="12892"/>
                  </a:lnTo>
                  <a:lnTo>
                    <a:pt x="2307" y="14876"/>
                  </a:lnTo>
                  <a:lnTo>
                    <a:pt x="1730" y="15371"/>
                  </a:lnTo>
                  <a:lnTo>
                    <a:pt x="576" y="16363"/>
                  </a:lnTo>
                  <a:lnTo>
                    <a:pt x="576" y="16859"/>
                  </a:lnTo>
                  <a:lnTo>
                    <a:pt x="576" y="18842"/>
                  </a:lnTo>
                  <a:lnTo>
                    <a:pt x="1153" y="19834"/>
                  </a:lnTo>
                  <a:lnTo>
                    <a:pt x="1730" y="22314"/>
                  </a:lnTo>
                  <a:lnTo>
                    <a:pt x="576" y="25289"/>
                  </a:lnTo>
                  <a:lnTo>
                    <a:pt x="1730" y="27768"/>
                  </a:lnTo>
                  <a:lnTo>
                    <a:pt x="3461" y="31735"/>
                  </a:lnTo>
                  <a:lnTo>
                    <a:pt x="5192" y="34710"/>
                  </a:lnTo>
                  <a:lnTo>
                    <a:pt x="5192" y="38677"/>
                  </a:lnTo>
                  <a:lnTo>
                    <a:pt x="5769" y="45619"/>
                  </a:lnTo>
                  <a:lnTo>
                    <a:pt x="5769" y="51570"/>
                  </a:lnTo>
                  <a:lnTo>
                    <a:pt x="5769" y="55537"/>
                  </a:lnTo>
                  <a:lnTo>
                    <a:pt x="6923" y="56528"/>
                  </a:lnTo>
                  <a:lnTo>
                    <a:pt x="6923" y="57520"/>
                  </a:lnTo>
                  <a:lnTo>
                    <a:pt x="6923" y="60495"/>
                  </a:lnTo>
                  <a:lnTo>
                    <a:pt x="8653" y="61487"/>
                  </a:lnTo>
                  <a:lnTo>
                    <a:pt x="9807" y="62975"/>
                  </a:lnTo>
                  <a:lnTo>
                    <a:pt x="10384" y="65454"/>
                  </a:lnTo>
                  <a:lnTo>
                    <a:pt x="10384" y="67438"/>
                  </a:lnTo>
                  <a:lnTo>
                    <a:pt x="10384" y="69917"/>
                  </a:lnTo>
                  <a:lnTo>
                    <a:pt x="9230" y="70413"/>
                  </a:lnTo>
                  <a:lnTo>
                    <a:pt x="9230" y="70413"/>
                  </a:lnTo>
                  <a:lnTo>
                    <a:pt x="9807" y="71404"/>
                  </a:lnTo>
                  <a:lnTo>
                    <a:pt x="7500" y="72892"/>
                  </a:lnTo>
                  <a:lnTo>
                    <a:pt x="6346" y="74380"/>
                  </a:lnTo>
                  <a:lnTo>
                    <a:pt x="4615" y="75371"/>
                  </a:lnTo>
                  <a:lnTo>
                    <a:pt x="4615" y="76363"/>
                  </a:lnTo>
                  <a:lnTo>
                    <a:pt x="4615" y="77355"/>
                  </a:lnTo>
                  <a:lnTo>
                    <a:pt x="5192" y="78347"/>
                  </a:lnTo>
                  <a:lnTo>
                    <a:pt x="6923" y="79338"/>
                  </a:lnTo>
                  <a:lnTo>
                    <a:pt x="6923" y="80826"/>
                  </a:lnTo>
                  <a:lnTo>
                    <a:pt x="9807" y="81322"/>
                  </a:lnTo>
                  <a:lnTo>
                    <a:pt x="10384" y="82809"/>
                  </a:lnTo>
                  <a:lnTo>
                    <a:pt x="12115" y="83801"/>
                  </a:lnTo>
                  <a:lnTo>
                    <a:pt x="10384" y="120000"/>
                  </a:lnTo>
                  <a:lnTo>
                    <a:pt x="99230" y="118512"/>
                  </a:lnTo>
                  <a:lnTo>
                    <a:pt x="99807" y="115537"/>
                  </a:lnTo>
                  <a:lnTo>
                    <a:pt x="99230" y="112561"/>
                  </a:lnTo>
                  <a:lnTo>
                    <a:pt x="95769" y="109090"/>
                  </a:lnTo>
                  <a:lnTo>
                    <a:pt x="92307" y="107107"/>
                  </a:lnTo>
                  <a:lnTo>
                    <a:pt x="90576" y="105619"/>
                  </a:lnTo>
                  <a:lnTo>
                    <a:pt x="86538" y="101157"/>
                  </a:lnTo>
                  <a:lnTo>
                    <a:pt x="79615" y="97685"/>
                  </a:lnTo>
                  <a:lnTo>
                    <a:pt x="75000" y="95702"/>
                  </a:lnTo>
                  <a:lnTo>
                    <a:pt x="72115" y="93719"/>
                  </a:lnTo>
                  <a:lnTo>
                    <a:pt x="72692" y="86280"/>
                  </a:lnTo>
                  <a:lnTo>
                    <a:pt x="73846" y="78842"/>
                  </a:lnTo>
                  <a:lnTo>
                    <a:pt x="72692" y="78842"/>
                  </a:lnTo>
                  <a:lnTo>
                    <a:pt x="70384" y="76363"/>
                  </a:lnTo>
                  <a:lnTo>
                    <a:pt x="72692" y="71900"/>
                  </a:lnTo>
                  <a:lnTo>
                    <a:pt x="73846" y="69917"/>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cxnSp>
          <p:nvCxnSpPr>
            <p:cNvPr id="51" name="Shape 1428">
              <a:extLst>
                <a:ext uri="{FF2B5EF4-FFF2-40B4-BE49-F238E27FC236}">
                  <a16:creationId xmlns:a16="http://schemas.microsoft.com/office/drawing/2014/main" id="{4B50A64C-CF71-C7A2-9D03-98FA6920E659}"/>
                </a:ext>
              </a:extLst>
            </p:cNvPr>
            <p:cNvCxnSpPr/>
            <p:nvPr/>
          </p:nvCxnSpPr>
          <p:spPr>
            <a:xfrm>
              <a:off x="6881807" y="2014722"/>
              <a:ext cx="0" cy="0"/>
            </a:xfrm>
            <a:prstGeom prst="straightConnector1">
              <a:avLst/>
            </a:prstGeom>
            <a:solidFill>
              <a:schemeClr val="bg1">
                <a:lumMod val="75000"/>
              </a:schemeClr>
            </a:solidFill>
            <a:ln w="3175" cap="flat" cmpd="sng">
              <a:solidFill>
                <a:srgbClr val="000000"/>
              </a:solidFill>
              <a:prstDash val="solid"/>
              <a:round/>
              <a:headEnd type="none" w="med" len="med"/>
              <a:tailEnd type="none" w="med" len="med"/>
            </a:ln>
          </p:spPr>
        </p:cxnSp>
        <p:cxnSp>
          <p:nvCxnSpPr>
            <p:cNvPr id="52" name="Shape 1429">
              <a:extLst>
                <a:ext uri="{FF2B5EF4-FFF2-40B4-BE49-F238E27FC236}">
                  <a16:creationId xmlns:a16="http://schemas.microsoft.com/office/drawing/2014/main" id="{4C0D814A-1333-61F5-5586-1EA8079F5D2F}"/>
                </a:ext>
              </a:extLst>
            </p:cNvPr>
            <p:cNvCxnSpPr/>
            <p:nvPr/>
          </p:nvCxnSpPr>
          <p:spPr>
            <a:xfrm>
              <a:off x="6881807" y="2014722"/>
              <a:ext cx="0" cy="0"/>
            </a:xfrm>
            <a:prstGeom prst="straightConnector1">
              <a:avLst/>
            </a:prstGeom>
            <a:solidFill>
              <a:schemeClr val="bg1">
                <a:lumMod val="75000"/>
              </a:schemeClr>
            </a:solidFill>
            <a:ln w="3175" cap="flat" cmpd="sng">
              <a:solidFill>
                <a:srgbClr val="FFFFFF"/>
              </a:solidFill>
              <a:prstDash val="solid"/>
              <a:miter/>
              <a:headEnd type="none" w="med" len="med"/>
              <a:tailEnd type="none" w="med" len="med"/>
            </a:ln>
          </p:spPr>
        </p:cxnSp>
        <p:sp>
          <p:nvSpPr>
            <p:cNvPr id="53" name="Shape 1430">
              <a:extLst>
                <a:ext uri="{FF2B5EF4-FFF2-40B4-BE49-F238E27FC236}">
                  <a16:creationId xmlns:a16="http://schemas.microsoft.com/office/drawing/2014/main" id="{2F470119-156B-A086-4B92-3C1956F452E3}"/>
                </a:ext>
              </a:extLst>
            </p:cNvPr>
            <p:cNvSpPr/>
            <p:nvPr/>
          </p:nvSpPr>
          <p:spPr>
            <a:xfrm>
              <a:off x="6964443" y="1940518"/>
              <a:ext cx="409805" cy="386195"/>
            </a:xfrm>
            <a:custGeom>
              <a:avLst/>
              <a:gdLst/>
              <a:ahLst/>
              <a:cxnLst/>
              <a:rect l="0" t="0" r="0" b="0"/>
              <a:pathLst>
                <a:path w="120000" h="120000" extrusionOk="0">
                  <a:moveTo>
                    <a:pt x="0" y="22666"/>
                  </a:moveTo>
                  <a:cubicBezTo>
                    <a:pt x="836" y="21777"/>
                    <a:pt x="836" y="21777"/>
                    <a:pt x="836" y="21777"/>
                  </a:cubicBezTo>
                  <a:cubicBezTo>
                    <a:pt x="2508" y="21777"/>
                    <a:pt x="2508" y="21777"/>
                    <a:pt x="2508" y="21777"/>
                  </a:cubicBezTo>
                  <a:cubicBezTo>
                    <a:pt x="4599" y="20444"/>
                    <a:pt x="4599" y="20444"/>
                    <a:pt x="4599" y="20444"/>
                  </a:cubicBezTo>
                  <a:cubicBezTo>
                    <a:pt x="5017" y="19555"/>
                    <a:pt x="5017" y="19555"/>
                    <a:pt x="5017" y="19555"/>
                  </a:cubicBezTo>
                  <a:cubicBezTo>
                    <a:pt x="5853" y="17777"/>
                    <a:pt x="5853" y="17777"/>
                    <a:pt x="5853" y="17777"/>
                  </a:cubicBezTo>
                  <a:cubicBezTo>
                    <a:pt x="7108" y="16444"/>
                    <a:pt x="7108" y="16444"/>
                    <a:pt x="7108" y="16444"/>
                  </a:cubicBezTo>
                  <a:cubicBezTo>
                    <a:pt x="8362" y="16000"/>
                    <a:pt x="8362" y="16000"/>
                    <a:pt x="8362" y="16000"/>
                  </a:cubicBezTo>
                  <a:cubicBezTo>
                    <a:pt x="9616" y="16000"/>
                    <a:pt x="9616" y="16000"/>
                    <a:pt x="9616" y="16000"/>
                  </a:cubicBezTo>
                  <a:cubicBezTo>
                    <a:pt x="12125" y="16000"/>
                    <a:pt x="12125" y="16000"/>
                    <a:pt x="12125" y="16000"/>
                  </a:cubicBezTo>
                  <a:cubicBezTo>
                    <a:pt x="13379" y="15111"/>
                    <a:pt x="13379" y="15111"/>
                    <a:pt x="13379" y="15111"/>
                  </a:cubicBezTo>
                  <a:cubicBezTo>
                    <a:pt x="17560" y="12000"/>
                    <a:pt x="17560" y="12000"/>
                    <a:pt x="17560" y="12000"/>
                  </a:cubicBezTo>
                  <a:cubicBezTo>
                    <a:pt x="18815" y="11555"/>
                    <a:pt x="18815" y="11555"/>
                    <a:pt x="18815" y="11555"/>
                  </a:cubicBezTo>
                  <a:cubicBezTo>
                    <a:pt x="20487" y="9777"/>
                    <a:pt x="20487" y="9777"/>
                    <a:pt x="20487" y="9777"/>
                  </a:cubicBezTo>
                  <a:cubicBezTo>
                    <a:pt x="21742" y="7555"/>
                    <a:pt x="21742" y="7555"/>
                    <a:pt x="21742" y="7555"/>
                  </a:cubicBezTo>
                  <a:cubicBezTo>
                    <a:pt x="23414" y="6222"/>
                    <a:pt x="23414" y="6222"/>
                    <a:pt x="23414" y="6222"/>
                  </a:cubicBezTo>
                  <a:cubicBezTo>
                    <a:pt x="25505" y="4000"/>
                    <a:pt x="25505" y="4000"/>
                    <a:pt x="25505" y="4000"/>
                  </a:cubicBezTo>
                  <a:cubicBezTo>
                    <a:pt x="27177" y="1777"/>
                    <a:pt x="27177" y="1777"/>
                    <a:pt x="27177" y="1777"/>
                  </a:cubicBezTo>
                  <a:cubicBezTo>
                    <a:pt x="29268" y="444"/>
                    <a:pt x="29268" y="444"/>
                    <a:pt x="29268" y="444"/>
                  </a:cubicBezTo>
                  <a:cubicBezTo>
                    <a:pt x="32195" y="0"/>
                    <a:pt x="32195" y="0"/>
                    <a:pt x="32195" y="0"/>
                  </a:cubicBezTo>
                  <a:cubicBezTo>
                    <a:pt x="33449" y="0"/>
                    <a:pt x="33449" y="0"/>
                    <a:pt x="33449" y="0"/>
                  </a:cubicBezTo>
                  <a:cubicBezTo>
                    <a:pt x="35540" y="888"/>
                    <a:pt x="35540" y="888"/>
                    <a:pt x="35540" y="888"/>
                  </a:cubicBezTo>
                  <a:cubicBezTo>
                    <a:pt x="34703" y="1333"/>
                    <a:pt x="34703" y="1333"/>
                    <a:pt x="34703" y="1333"/>
                  </a:cubicBezTo>
                  <a:cubicBezTo>
                    <a:pt x="33031" y="2222"/>
                    <a:pt x="33031" y="2222"/>
                    <a:pt x="33031" y="2222"/>
                  </a:cubicBezTo>
                  <a:cubicBezTo>
                    <a:pt x="31358" y="2666"/>
                    <a:pt x="31358" y="2666"/>
                    <a:pt x="31358" y="2666"/>
                  </a:cubicBezTo>
                  <a:cubicBezTo>
                    <a:pt x="31777" y="3555"/>
                    <a:pt x="31777" y="3555"/>
                    <a:pt x="31777" y="3555"/>
                  </a:cubicBezTo>
                  <a:cubicBezTo>
                    <a:pt x="29268" y="6222"/>
                    <a:pt x="29268" y="6222"/>
                    <a:pt x="29268" y="6222"/>
                  </a:cubicBezTo>
                  <a:cubicBezTo>
                    <a:pt x="29268" y="6222"/>
                    <a:pt x="28432" y="6222"/>
                    <a:pt x="28432" y="6666"/>
                  </a:cubicBezTo>
                  <a:cubicBezTo>
                    <a:pt x="28432" y="7111"/>
                    <a:pt x="27177" y="10222"/>
                    <a:pt x="27177" y="10222"/>
                  </a:cubicBezTo>
                  <a:cubicBezTo>
                    <a:pt x="27177" y="8444"/>
                    <a:pt x="27177" y="8444"/>
                    <a:pt x="27177" y="8444"/>
                  </a:cubicBezTo>
                  <a:cubicBezTo>
                    <a:pt x="26341" y="7555"/>
                    <a:pt x="26341" y="7555"/>
                    <a:pt x="26341" y="7555"/>
                  </a:cubicBezTo>
                  <a:cubicBezTo>
                    <a:pt x="25923" y="12000"/>
                    <a:pt x="25923" y="12000"/>
                    <a:pt x="25923" y="12000"/>
                  </a:cubicBezTo>
                  <a:cubicBezTo>
                    <a:pt x="25923" y="14666"/>
                    <a:pt x="25923" y="14666"/>
                    <a:pt x="25923" y="14666"/>
                  </a:cubicBezTo>
                  <a:cubicBezTo>
                    <a:pt x="27177" y="13777"/>
                    <a:pt x="27177" y="13777"/>
                    <a:pt x="27177" y="13777"/>
                  </a:cubicBezTo>
                  <a:cubicBezTo>
                    <a:pt x="28013" y="12888"/>
                    <a:pt x="28013" y="12888"/>
                    <a:pt x="28013" y="12888"/>
                  </a:cubicBezTo>
                  <a:cubicBezTo>
                    <a:pt x="28432" y="12888"/>
                    <a:pt x="28432" y="12888"/>
                    <a:pt x="28432" y="12888"/>
                  </a:cubicBezTo>
                  <a:cubicBezTo>
                    <a:pt x="28850" y="13777"/>
                    <a:pt x="28850" y="13777"/>
                    <a:pt x="28850" y="13777"/>
                  </a:cubicBezTo>
                  <a:cubicBezTo>
                    <a:pt x="30104" y="13777"/>
                    <a:pt x="30104" y="13777"/>
                    <a:pt x="30104" y="13777"/>
                  </a:cubicBezTo>
                  <a:cubicBezTo>
                    <a:pt x="30940" y="13333"/>
                    <a:pt x="30940" y="13333"/>
                    <a:pt x="30940" y="13333"/>
                  </a:cubicBezTo>
                  <a:cubicBezTo>
                    <a:pt x="32195" y="12444"/>
                    <a:pt x="32195" y="12444"/>
                    <a:pt x="32195" y="12444"/>
                  </a:cubicBezTo>
                  <a:cubicBezTo>
                    <a:pt x="34285" y="12888"/>
                    <a:pt x="34285" y="12888"/>
                    <a:pt x="34285" y="12888"/>
                  </a:cubicBezTo>
                  <a:cubicBezTo>
                    <a:pt x="38466" y="15111"/>
                    <a:pt x="38466" y="15111"/>
                    <a:pt x="38466" y="15111"/>
                  </a:cubicBezTo>
                  <a:cubicBezTo>
                    <a:pt x="40975" y="18222"/>
                    <a:pt x="40975" y="18222"/>
                    <a:pt x="40975" y="18222"/>
                  </a:cubicBezTo>
                  <a:cubicBezTo>
                    <a:pt x="42648" y="19555"/>
                    <a:pt x="42648" y="19555"/>
                    <a:pt x="42648" y="19555"/>
                  </a:cubicBezTo>
                  <a:cubicBezTo>
                    <a:pt x="46411" y="20000"/>
                    <a:pt x="46411" y="20000"/>
                    <a:pt x="46411" y="20000"/>
                  </a:cubicBezTo>
                  <a:cubicBezTo>
                    <a:pt x="47665" y="19555"/>
                    <a:pt x="47665" y="19555"/>
                    <a:pt x="47665" y="19555"/>
                  </a:cubicBezTo>
                  <a:cubicBezTo>
                    <a:pt x="50592" y="20444"/>
                    <a:pt x="50592" y="20444"/>
                    <a:pt x="50592" y="20444"/>
                  </a:cubicBezTo>
                  <a:cubicBezTo>
                    <a:pt x="53101" y="21333"/>
                    <a:pt x="53101" y="21333"/>
                    <a:pt x="53101" y="21333"/>
                  </a:cubicBezTo>
                  <a:cubicBezTo>
                    <a:pt x="54355" y="19555"/>
                    <a:pt x="54355" y="19555"/>
                    <a:pt x="54355" y="19555"/>
                  </a:cubicBezTo>
                  <a:cubicBezTo>
                    <a:pt x="56445" y="17333"/>
                    <a:pt x="56445" y="17333"/>
                    <a:pt x="56445" y="17333"/>
                  </a:cubicBezTo>
                  <a:cubicBezTo>
                    <a:pt x="58118" y="15555"/>
                    <a:pt x="58118" y="15555"/>
                    <a:pt x="58118" y="15555"/>
                  </a:cubicBezTo>
                  <a:cubicBezTo>
                    <a:pt x="61881" y="14666"/>
                    <a:pt x="61881" y="14666"/>
                    <a:pt x="61881" y="14666"/>
                  </a:cubicBezTo>
                  <a:cubicBezTo>
                    <a:pt x="64390" y="13777"/>
                    <a:pt x="64390" y="13777"/>
                    <a:pt x="64390" y="13777"/>
                  </a:cubicBezTo>
                  <a:cubicBezTo>
                    <a:pt x="66898" y="13777"/>
                    <a:pt x="66898" y="13777"/>
                    <a:pt x="66898" y="13777"/>
                  </a:cubicBezTo>
                  <a:cubicBezTo>
                    <a:pt x="70662" y="12444"/>
                    <a:pt x="70662" y="12444"/>
                    <a:pt x="70662" y="12444"/>
                  </a:cubicBezTo>
                  <a:cubicBezTo>
                    <a:pt x="73170" y="11555"/>
                    <a:pt x="73170" y="11555"/>
                    <a:pt x="73170" y="11555"/>
                  </a:cubicBezTo>
                  <a:cubicBezTo>
                    <a:pt x="74425" y="12444"/>
                    <a:pt x="74425" y="12444"/>
                    <a:pt x="74425" y="12444"/>
                  </a:cubicBezTo>
                  <a:cubicBezTo>
                    <a:pt x="75261" y="16000"/>
                    <a:pt x="75261" y="16000"/>
                    <a:pt x="75261" y="16000"/>
                  </a:cubicBezTo>
                  <a:cubicBezTo>
                    <a:pt x="79860" y="16888"/>
                    <a:pt x="79860" y="16888"/>
                    <a:pt x="79860" y="16888"/>
                  </a:cubicBezTo>
                  <a:cubicBezTo>
                    <a:pt x="82787" y="16888"/>
                    <a:pt x="82787" y="16888"/>
                    <a:pt x="82787" y="16888"/>
                  </a:cubicBezTo>
                  <a:cubicBezTo>
                    <a:pt x="84878" y="17333"/>
                    <a:pt x="84878" y="17333"/>
                    <a:pt x="84878" y="17333"/>
                  </a:cubicBezTo>
                  <a:cubicBezTo>
                    <a:pt x="86550" y="19555"/>
                    <a:pt x="86550" y="19555"/>
                    <a:pt x="86550" y="19555"/>
                  </a:cubicBezTo>
                  <a:cubicBezTo>
                    <a:pt x="89059" y="22666"/>
                    <a:pt x="89059" y="22666"/>
                    <a:pt x="89059" y="22666"/>
                  </a:cubicBezTo>
                  <a:cubicBezTo>
                    <a:pt x="89895" y="23555"/>
                    <a:pt x="89895" y="23555"/>
                    <a:pt x="89895" y="23555"/>
                  </a:cubicBezTo>
                  <a:cubicBezTo>
                    <a:pt x="89895" y="23555"/>
                    <a:pt x="90313" y="24000"/>
                    <a:pt x="90731" y="24444"/>
                  </a:cubicBezTo>
                  <a:cubicBezTo>
                    <a:pt x="91149" y="24888"/>
                    <a:pt x="91567" y="25777"/>
                    <a:pt x="91567" y="25777"/>
                  </a:cubicBezTo>
                  <a:cubicBezTo>
                    <a:pt x="93658" y="26222"/>
                    <a:pt x="93658" y="26222"/>
                    <a:pt x="93658" y="26222"/>
                  </a:cubicBezTo>
                  <a:cubicBezTo>
                    <a:pt x="93658" y="26222"/>
                    <a:pt x="94494" y="25333"/>
                    <a:pt x="94494" y="25333"/>
                  </a:cubicBezTo>
                  <a:cubicBezTo>
                    <a:pt x="94494" y="24888"/>
                    <a:pt x="96167" y="24000"/>
                    <a:pt x="96167" y="24000"/>
                  </a:cubicBezTo>
                  <a:cubicBezTo>
                    <a:pt x="97003" y="24888"/>
                    <a:pt x="97003" y="24888"/>
                    <a:pt x="97003" y="24888"/>
                  </a:cubicBezTo>
                  <a:cubicBezTo>
                    <a:pt x="97003" y="24888"/>
                    <a:pt x="97839" y="25333"/>
                    <a:pt x="97003" y="25777"/>
                  </a:cubicBezTo>
                  <a:cubicBezTo>
                    <a:pt x="96585" y="25777"/>
                    <a:pt x="96167" y="26666"/>
                    <a:pt x="95749" y="26666"/>
                  </a:cubicBezTo>
                  <a:cubicBezTo>
                    <a:pt x="94912" y="26666"/>
                    <a:pt x="94076" y="26666"/>
                    <a:pt x="94076" y="26666"/>
                  </a:cubicBezTo>
                  <a:cubicBezTo>
                    <a:pt x="92404" y="26666"/>
                    <a:pt x="92404" y="26666"/>
                    <a:pt x="92404" y="26666"/>
                  </a:cubicBezTo>
                  <a:cubicBezTo>
                    <a:pt x="91567" y="27555"/>
                    <a:pt x="91567" y="27555"/>
                    <a:pt x="91567" y="27555"/>
                  </a:cubicBezTo>
                  <a:cubicBezTo>
                    <a:pt x="86968" y="27555"/>
                    <a:pt x="86968" y="27555"/>
                    <a:pt x="86968" y="27555"/>
                  </a:cubicBezTo>
                  <a:cubicBezTo>
                    <a:pt x="85714" y="28000"/>
                    <a:pt x="85714" y="28000"/>
                    <a:pt x="85714" y="28000"/>
                  </a:cubicBezTo>
                  <a:cubicBezTo>
                    <a:pt x="84041" y="27111"/>
                    <a:pt x="84041" y="27111"/>
                    <a:pt x="84041" y="27111"/>
                  </a:cubicBezTo>
                  <a:cubicBezTo>
                    <a:pt x="82369" y="26222"/>
                    <a:pt x="82369" y="26222"/>
                    <a:pt x="82369" y="26222"/>
                  </a:cubicBezTo>
                  <a:cubicBezTo>
                    <a:pt x="80696" y="28444"/>
                    <a:pt x="80696" y="28444"/>
                    <a:pt x="80696" y="28444"/>
                  </a:cubicBezTo>
                  <a:cubicBezTo>
                    <a:pt x="81114" y="29777"/>
                    <a:pt x="81114" y="29777"/>
                    <a:pt x="81114" y="29777"/>
                  </a:cubicBezTo>
                  <a:cubicBezTo>
                    <a:pt x="81114" y="30666"/>
                    <a:pt x="81114" y="30666"/>
                    <a:pt x="81114" y="30666"/>
                  </a:cubicBezTo>
                  <a:cubicBezTo>
                    <a:pt x="81114" y="30666"/>
                    <a:pt x="81114" y="31555"/>
                    <a:pt x="81533" y="31555"/>
                  </a:cubicBezTo>
                  <a:cubicBezTo>
                    <a:pt x="81533" y="31555"/>
                    <a:pt x="81951" y="32000"/>
                    <a:pt x="81951" y="32000"/>
                  </a:cubicBezTo>
                  <a:cubicBezTo>
                    <a:pt x="84041" y="32888"/>
                    <a:pt x="84041" y="32888"/>
                    <a:pt x="84041" y="32888"/>
                  </a:cubicBezTo>
                  <a:cubicBezTo>
                    <a:pt x="84878" y="32000"/>
                    <a:pt x="84878" y="32000"/>
                    <a:pt x="84878" y="32000"/>
                  </a:cubicBezTo>
                  <a:cubicBezTo>
                    <a:pt x="84878" y="32000"/>
                    <a:pt x="83623" y="31111"/>
                    <a:pt x="84041" y="31111"/>
                  </a:cubicBezTo>
                  <a:cubicBezTo>
                    <a:pt x="84459" y="31111"/>
                    <a:pt x="86132" y="32000"/>
                    <a:pt x="86132" y="32000"/>
                  </a:cubicBezTo>
                  <a:cubicBezTo>
                    <a:pt x="86132" y="32000"/>
                    <a:pt x="85714" y="32888"/>
                    <a:pt x="85714" y="32888"/>
                  </a:cubicBezTo>
                  <a:cubicBezTo>
                    <a:pt x="85296" y="33333"/>
                    <a:pt x="85296" y="33333"/>
                    <a:pt x="85296" y="33333"/>
                  </a:cubicBezTo>
                  <a:cubicBezTo>
                    <a:pt x="85714" y="33777"/>
                    <a:pt x="87804" y="34222"/>
                    <a:pt x="87804" y="34222"/>
                  </a:cubicBezTo>
                  <a:cubicBezTo>
                    <a:pt x="88222" y="34222"/>
                    <a:pt x="89477" y="35111"/>
                    <a:pt x="89477" y="35111"/>
                  </a:cubicBezTo>
                  <a:cubicBezTo>
                    <a:pt x="91567" y="36444"/>
                    <a:pt x="91567" y="36444"/>
                    <a:pt x="91567" y="36444"/>
                  </a:cubicBezTo>
                  <a:cubicBezTo>
                    <a:pt x="94494" y="37777"/>
                    <a:pt x="94494" y="37777"/>
                    <a:pt x="94494" y="37777"/>
                  </a:cubicBezTo>
                  <a:cubicBezTo>
                    <a:pt x="97839" y="39111"/>
                    <a:pt x="97839" y="39111"/>
                    <a:pt x="97839" y="39111"/>
                  </a:cubicBezTo>
                  <a:cubicBezTo>
                    <a:pt x="101184" y="42666"/>
                    <a:pt x="101184" y="42666"/>
                    <a:pt x="101184" y="42666"/>
                  </a:cubicBezTo>
                  <a:cubicBezTo>
                    <a:pt x="102857" y="44888"/>
                    <a:pt x="102857" y="44888"/>
                    <a:pt x="102857" y="44888"/>
                  </a:cubicBezTo>
                  <a:cubicBezTo>
                    <a:pt x="102020" y="45777"/>
                    <a:pt x="102020" y="45777"/>
                    <a:pt x="102020" y="45777"/>
                  </a:cubicBezTo>
                  <a:cubicBezTo>
                    <a:pt x="102020" y="45777"/>
                    <a:pt x="101602" y="45777"/>
                    <a:pt x="101602" y="46222"/>
                  </a:cubicBezTo>
                  <a:cubicBezTo>
                    <a:pt x="102020" y="46666"/>
                    <a:pt x="102857" y="48444"/>
                    <a:pt x="102857" y="48444"/>
                  </a:cubicBezTo>
                  <a:cubicBezTo>
                    <a:pt x="102439" y="48888"/>
                    <a:pt x="103275" y="50222"/>
                    <a:pt x="103275" y="50222"/>
                  </a:cubicBezTo>
                  <a:cubicBezTo>
                    <a:pt x="104111" y="55111"/>
                    <a:pt x="104111" y="55111"/>
                    <a:pt x="104111" y="55111"/>
                  </a:cubicBezTo>
                  <a:cubicBezTo>
                    <a:pt x="104529" y="57777"/>
                    <a:pt x="104529" y="57777"/>
                    <a:pt x="104529" y="57777"/>
                  </a:cubicBezTo>
                  <a:cubicBezTo>
                    <a:pt x="104111" y="60444"/>
                    <a:pt x="104111" y="60444"/>
                    <a:pt x="104111" y="60444"/>
                  </a:cubicBezTo>
                  <a:cubicBezTo>
                    <a:pt x="102439" y="62666"/>
                    <a:pt x="102439" y="62666"/>
                    <a:pt x="102439" y="62666"/>
                  </a:cubicBezTo>
                  <a:cubicBezTo>
                    <a:pt x="101184" y="65333"/>
                    <a:pt x="101184" y="65333"/>
                    <a:pt x="101184" y="65333"/>
                  </a:cubicBezTo>
                  <a:cubicBezTo>
                    <a:pt x="101184" y="65333"/>
                    <a:pt x="100348" y="67111"/>
                    <a:pt x="99930" y="67555"/>
                  </a:cubicBezTo>
                  <a:cubicBezTo>
                    <a:pt x="99930" y="67555"/>
                    <a:pt x="98257" y="68888"/>
                    <a:pt x="98257" y="69333"/>
                  </a:cubicBezTo>
                  <a:cubicBezTo>
                    <a:pt x="98257" y="69333"/>
                    <a:pt x="97421" y="71111"/>
                    <a:pt x="97421" y="71111"/>
                  </a:cubicBezTo>
                  <a:cubicBezTo>
                    <a:pt x="97421" y="74666"/>
                    <a:pt x="97421" y="74666"/>
                    <a:pt x="97421" y="74666"/>
                  </a:cubicBezTo>
                  <a:cubicBezTo>
                    <a:pt x="98257" y="75555"/>
                    <a:pt x="98257" y="75555"/>
                    <a:pt x="98257" y="75555"/>
                  </a:cubicBezTo>
                  <a:cubicBezTo>
                    <a:pt x="100348" y="76444"/>
                    <a:pt x="100348" y="76444"/>
                    <a:pt x="100348" y="76444"/>
                  </a:cubicBezTo>
                  <a:cubicBezTo>
                    <a:pt x="101184" y="75555"/>
                    <a:pt x="101184" y="75555"/>
                    <a:pt x="101184" y="75555"/>
                  </a:cubicBezTo>
                  <a:cubicBezTo>
                    <a:pt x="101184" y="75555"/>
                    <a:pt x="102020" y="75111"/>
                    <a:pt x="102020" y="74666"/>
                  </a:cubicBezTo>
                  <a:cubicBezTo>
                    <a:pt x="102439" y="74666"/>
                    <a:pt x="102857" y="73777"/>
                    <a:pt x="102857" y="73777"/>
                  </a:cubicBezTo>
                  <a:cubicBezTo>
                    <a:pt x="102857" y="73777"/>
                    <a:pt x="104111" y="72888"/>
                    <a:pt x="104111" y="72888"/>
                  </a:cubicBezTo>
                  <a:cubicBezTo>
                    <a:pt x="104111" y="72888"/>
                    <a:pt x="104111" y="71555"/>
                    <a:pt x="104111" y="71555"/>
                  </a:cubicBezTo>
                  <a:cubicBezTo>
                    <a:pt x="104111" y="71555"/>
                    <a:pt x="104529" y="69777"/>
                    <a:pt x="104529" y="69777"/>
                  </a:cubicBezTo>
                  <a:cubicBezTo>
                    <a:pt x="104529" y="69777"/>
                    <a:pt x="105365" y="69333"/>
                    <a:pt x="105365" y="69333"/>
                  </a:cubicBezTo>
                  <a:cubicBezTo>
                    <a:pt x="105365" y="68888"/>
                    <a:pt x="106620" y="68000"/>
                    <a:pt x="106620" y="68000"/>
                  </a:cubicBezTo>
                  <a:cubicBezTo>
                    <a:pt x="106620" y="68000"/>
                    <a:pt x="108292" y="66666"/>
                    <a:pt x="108292" y="66666"/>
                  </a:cubicBezTo>
                  <a:cubicBezTo>
                    <a:pt x="108710" y="66666"/>
                    <a:pt x="109547" y="65333"/>
                    <a:pt x="109547" y="65333"/>
                  </a:cubicBezTo>
                  <a:cubicBezTo>
                    <a:pt x="110801" y="65333"/>
                    <a:pt x="110801" y="65333"/>
                    <a:pt x="110801" y="65333"/>
                  </a:cubicBezTo>
                  <a:cubicBezTo>
                    <a:pt x="112473" y="65777"/>
                    <a:pt x="112473" y="65777"/>
                    <a:pt x="112473" y="65777"/>
                  </a:cubicBezTo>
                  <a:cubicBezTo>
                    <a:pt x="114982" y="68444"/>
                    <a:pt x="114982" y="68444"/>
                    <a:pt x="114982" y="68444"/>
                  </a:cubicBezTo>
                  <a:cubicBezTo>
                    <a:pt x="116655" y="72000"/>
                    <a:pt x="116655" y="72000"/>
                    <a:pt x="116655" y="72000"/>
                  </a:cubicBezTo>
                  <a:cubicBezTo>
                    <a:pt x="118327" y="81777"/>
                    <a:pt x="118327" y="81777"/>
                    <a:pt x="118327" y="81777"/>
                  </a:cubicBezTo>
                  <a:cubicBezTo>
                    <a:pt x="119581" y="84000"/>
                    <a:pt x="119581" y="84000"/>
                    <a:pt x="119581" y="84000"/>
                  </a:cubicBezTo>
                  <a:cubicBezTo>
                    <a:pt x="119581" y="85777"/>
                    <a:pt x="119581" y="85777"/>
                    <a:pt x="119581" y="85777"/>
                  </a:cubicBezTo>
                  <a:cubicBezTo>
                    <a:pt x="119581" y="85777"/>
                    <a:pt x="120000" y="87111"/>
                    <a:pt x="120000" y="87555"/>
                  </a:cubicBezTo>
                  <a:cubicBezTo>
                    <a:pt x="120000" y="88000"/>
                    <a:pt x="120000" y="94666"/>
                    <a:pt x="120000" y="94666"/>
                  </a:cubicBezTo>
                  <a:cubicBezTo>
                    <a:pt x="117073" y="94666"/>
                    <a:pt x="117073" y="94666"/>
                    <a:pt x="117073" y="94666"/>
                  </a:cubicBezTo>
                  <a:cubicBezTo>
                    <a:pt x="116236" y="94666"/>
                    <a:pt x="116236" y="94666"/>
                    <a:pt x="116236" y="94666"/>
                  </a:cubicBezTo>
                  <a:cubicBezTo>
                    <a:pt x="116236" y="96000"/>
                    <a:pt x="116236" y="96000"/>
                    <a:pt x="116236" y="96000"/>
                  </a:cubicBezTo>
                  <a:cubicBezTo>
                    <a:pt x="114982" y="97777"/>
                    <a:pt x="114982" y="97777"/>
                    <a:pt x="114982" y="97777"/>
                  </a:cubicBezTo>
                  <a:cubicBezTo>
                    <a:pt x="114564" y="100000"/>
                    <a:pt x="114564" y="100000"/>
                    <a:pt x="114564" y="100000"/>
                  </a:cubicBezTo>
                  <a:cubicBezTo>
                    <a:pt x="113728" y="101777"/>
                    <a:pt x="113728" y="101777"/>
                    <a:pt x="113728" y="101777"/>
                  </a:cubicBezTo>
                  <a:cubicBezTo>
                    <a:pt x="112473" y="103555"/>
                    <a:pt x="112473" y="103555"/>
                    <a:pt x="112473" y="103555"/>
                  </a:cubicBezTo>
                  <a:cubicBezTo>
                    <a:pt x="111219" y="108000"/>
                    <a:pt x="111219" y="108000"/>
                    <a:pt x="111219" y="108000"/>
                  </a:cubicBezTo>
                  <a:cubicBezTo>
                    <a:pt x="111219" y="110666"/>
                    <a:pt x="111219" y="110666"/>
                    <a:pt x="111219" y="110666"/>
                  </a:cubicBezTo>
                  <a:cubicBezTo>
                    <a:pt x="109547" y="112888"/>
                    <a:pt x="109547" y="112888"/>
                    <a:pt x="109547" y="112888"/>
                  </a:cubicBezTo>
                  <a:cubicBezTo>
                    <a:pt x="108292" y="115111"/>
                    <a:pt x="108292" y="115111"/>
                    <a:pt x="108292" y="115111"/>
                  </a:cubicBezTo>
                  <a:cubicBezTo>
                    <a:pt x="89059" y="118666"/>
                    <a:pt x="89059" y="118666"/>
                    <a:pt x="89059" y="118666"/>
                  </a:cubicBezTo>
                  <a:cubicBezTo>
                    <a:pt x="88641" y="117777"/>
                    <a:pt x="88641" y="117777"/>
                    <a:pt x="88641" y="117777"/>
                  </a:cubicBezTo>
                  <a:cubicBezTo>
                    <a:pt x="58954" y="120000"/>
                    <a:pt x="58954" y="120000"/>
                    <a:pt x="58954" y="120000"/>
                  </a:cubicBezTo>
                  <a:cubicBezTo>
                    <a:pt x="61045" y="117777"/>
                    <a:pt x="61045" y="117777"/>
                    <a:pt x="61045" y="117777"/>
                  </a:cubicBezTo>
                  <a:cubicBezTo>
                    <a:pt x="61881" y="116000"/>
                    <a:pt x="61881" y="116000"/>
                    <a:pt x="61881" y="116000"/>
                  </a:cubicBezTo>
                  <a:cubicBezTo>
                    <a:pt x="63554" y="112888"/>
                    <a:pt x="63554" y="112888"/>
                    <a:pt x="63554" y="112888"/>
                  </a:cubicBezTo>
                  <a:cubicBezTo>
                    <a:pt x="65226" y="108888"/>
                    <a:pt x="65226" y="108888"/>
                    <a:pt x="65226" y="108888"/>
                  </a:cubicBezTo>
                  <a:cubicBezTo>
                    <a:pt x="66062" y="104444"/>
                    <a:pt x="66062" y="104444"/>
                    <a:pt x="66062" y="104444"/>
                  </a:cubicBezTo>
                  <a:cubicBezTo>
                    <a:pt x="65644" y="96444"/>
                    <a:pt x="65644" y="96444"/>
                    <a:pt x="65644" y="96444"/>
                  </a:cubicBezTo>
                  <a:cubicBezTo>
                    <a:pt x="65644" y="92888"/>
                    <a:pt x="65644" y="92888"/>
                    <a:pt x="65644" y="92888"/>
                  </a:cubicBezTo>
                  <a:cubicBezTo>
                    <a:pt x="63972" y="90222"/>
                    <a:pt x="63972" y="90222"/>
                    <a:pt x="63972" y="90222"/>
                  </a:cubicBezTo>
                  <a:cubicBezTo>
                    <a:pt x="62299" y="86666"/>
                    <a:pt x="62299" y="86666"/>
                    <a:pt x="62299" y="86666"/>
                  </a:cubicBezTo>
                  <a:cubicBezTo>
                    <a:pt x="60627" y="84888"/>
                    <a:pt x="60627" y="84888"/>
                    <a:pt x="60627" y="84888"/>
                  </a:cubicBezTo>
                  <a:cubicBezTo>
                    <a:pt x="59372" y="81777"/>
                    <a:pt x="59372" y="81777"/>
                    <a:pt x="59372" y="81777"/>
                  </a:cubicBezTo>
                  <a:cubicBezTo>
                    <a:pt x="60209" y="79555"/>
                    <a:pt x="60209" y="79555"/>
                    <a:pt x="60209" y="79555"/>
                  </a:cubicBezTo>
                  <a:cubicBezTo>
                    <a:pt x="61045" y="78666"/>
                    <a:pt x="61045" y="78666"/>
                    <a:pt x="61045" y="78666"/>
                  </a:cubicBezTo>
                  <a:cubicBezTo>
                    <a:pt x="61045" y="76888"/>
                    <a:pt x="61045" y="76888"/>
                    <a:pt x="61045" y="76888"/>
                  </a:cubicBezTo>
                  <a:cubicBezTo>
                    <a:pt x="60209" y="73333"/>
                    <a:pt x="60209" y="73333"/>
                    <a:pt x="60209" y="73333"/>
                  </a:cubicBezTo>
                  <a:cubicBezTo>
                    <a:pt x="58954" y="72000"/>
                    <a:pt x="58954" y="72000"/>
                    <a:pt x="58954" y="72000"/>
                  </a:cubicBezTo>
                  <a:cubicBezTo>
                    <a:pt x="60209" y="71111"/>
                    <a:pt x="60209" y="71111"/>
                    <a:pt x="60209" y="71111"/>
                  </a:cubicBezTo>
                  <a:cubicBezTo>
                    <a:pt x="60627" y="68888"/>
                    <a:pt x="60627" y="68888"/>
                    <a:pt x="60627" y="68888"/>
                  </a:cubicBezTo>
                  <a:cubicBezTo>
                    <a:pt x="61045" y="66666"/>
                    <a:pt x="61045" y="66666"/>
                    <a:pt x="61045" y="66666"/>
                  </a:cubicBezTo>
                  <a:cubicBezTo>
                    <a:pt x="61881" y="65333"/>
                    <a:pt x="61881" y="65333"/>
                    <a:pt x="61881" y="65333"/>
                  </a:cubicBezTo>
                  <a:cubicBezTo>
                    <a:pt x="61881" y="61777"/>
                    <a:pt x="61881" y="61777"/>
                    <a:pt x="61881" y="61777"/>
                  </a:cubicBezTo>
                  <a:cubicBezTo>
                    <a:pt x="61463" y="60000"/>
                    <a:pt x="61463" y="60000"/>
                    <a:pt x="61463" y="60000"/>
                  </a:cubicBezTo>
                  <a:cubicBezTo>
                    <a:pt x="61881" y="57777"/>
                    <a:pt x="61881" y="57777"/>
                    <a:pt x="61881" y="57777"/>
                  </a:cubicBezTo>
                  <a:cubicBezTo>
                    <a:pt x="63135" y="56000"/>
                    <a:pt x="63135" y="56000"/>
                    <a:pt x="63135" y="56000"/>
                  </a:cubicBezTo>
                  <a:cubicBezTo>
                    <a:pt x="63972" y="54222"/>
                    <a:pt x="63972" y="54222"/>
                    <a:pt x="63972" y="54222"/>
                  </a:cubicBezTo>
                  <a:cubicBezTo>
                    <a:pt x="63972" y="52000"/>
                    <a:pt x="63972" y="52000"/>
                    <a:pt x="63972" y="52000"/>
                  </a:cubicBezTo>
                  <a:cubicBezTo>
                    <a:pt x="65644" y="51555"/>
                    <a:pt x="65644" y="51555"/>
                    <a:pt x="65644" y="51555"/>
                  </a:cubicBezTo>
                  <a:cubicBezTo>
                    <a:pt x="68153" y="51555"/>
                    <a:pt x="68153" y="51555"/>
                    <a:pt x="68153" y="51555"/>
                  </a:cubicBezTo>
                  <a:cubicBezTo>
                    <a:pt x="68989" y="48000"/>
                    <a:pt x="68989" y="48000"/>
                    <a:pt x="68989" y="48000"/>
                  </a:cubicBezTo>
                  <a:cubicBezTo>
                    <a:pt x="69407" y="47111"/>
                    <a:pt x="69407" y="47111"/>
                    <a:pt x="69407" y="47111"/>
                  </a:cubicBezTo>
                  <a:cubicBezTo>
                    <a:pt x="70243" y="46666"/>
                    <a:pt x="70243" y="46666"/>
                    <a:pt x="70243" y="46666"/>
                  </a:cubicBezTo>
                  <a:cubicBezTo>
                    <a:pt x="71498" y="50666"/>
                    <a:pt x="71498" y="50666"/>
                    <a:pt x="71498" y="50666"/>
                  </a:cubicBezTo>
                  <a:cubicBezTo>
                    <a:pt x="69825" y="52888"/>
                    <a:pt x="69825" y="52888"/>
                    <a:pt x="69825" y="52888"/>
                  </a:cubicBezTo>
                  <a:cubicBezTo>
                    <a:pt x="69825" y="53777"/>
                    <a:pt x="69825" y="53777"/>
                    <a:pt x="69825" y="53777"/>
                  </a:cubicBezTo>
                  <a:cubicBezTo>
                    <a:pt x="69825" y="53777"/>
                    <a:pt x="70243" y="54222"/>
                    <a:pt x="70662" y="54222"/>
                  </a:cubicBezTo>
                  <a:cubicBezTo>
                    <a:pt x="71080" y="54222"/>
                    <a:pt x="71080" y="54222"/>
                    <a:pt x="71080" y="54222"/>
                  </a:cubicBezTo>
                  <a:cubicBezTo>
                    <a:pt x="71080" y="54222"/>
                    <a:pt x="71916" y="53777"/>
                    <a:pt x="71916" y="53777"/>
                  </a:cubicBezTo>
                  <a:cubicBezTo>
                    <a:pt x="71916" y="53333"/>
                    <a:pt x="72334" y="52000"/>
                    <a:pt x="72334" y="52000"/>
                  </a:cubicBezTo>
                  <a:cubicBezTo>
                    <a:pt x="72752" y="51555"/>
                    <a:pt x="72752" y="51555"/>
                    <a:pt x="72752" y="51555"/>
                  </a:cubicBezTo>
                  <a:cubicBezTo>
                    <a:pt x="73170" y="49333"/>
                    <a:pt x="73170" y="49333"/>
                    <a:pt x="73170" y="49333"/>
                  </a:cubicBezTo>
                  <a:cubicBezTo>
                    <a:pt x="73170" y="48000"/>
                    <a:pt x="73170" y="48000"/>
                    <a:pt x="73170" y="48000"/>
                  </a:cubicBezTo>
                  <a:cubicBezTo>
                    <a:pt x="73170" y="46222"/>
                    <a:pt x="73170" y="46222"/>
                    <a:pt x="73170" y="46222"/>
                  </a:cubicBezTo>
                  <a:cubicBezTo>
                    <a:pt x="73170" y="44444"/>
                    <a:pt x="73170" y="44444"/>
                    <a:pt x="73170" y="44444"/>
                  </a:cubicBezTo>
                  <a:cubicBezTo>
                    <a:pt x="74425" y="42666"/>
                    <a:pt x="74425" y="42666"/>
                    <a:pt x="74425" y="42666"/>
                  </a:cubicBezTo>
                  <a:cubicBezTo>
                    <a:pt x="75261" y="41777"/>
                    <a:pt x="75261" y="41777"/>
                    <a:pt x="75261" y="41777"/>
                  </a:cubicBezTo>
                  <a:cubicBezTo>
                    <a:pt x="77351" y="41333"/>
                    <a:pt x="77351" y="41333"/>
                    <a:pt x="77351" y="41333"/>
                  </a:cubicBezTo>
                  <a:cubicBezTo>
                    <a:pt x="78188" y="40444"/>
                    <a:pt x="78188" y="40444"/>
                    <a:pt x="78188" y="40444"/>
                  </a:cubicBezTo>
                  <a:cubicBezTo>
                    <a:pt x="76515" y="38666"/>
                    <a:pt x="76515" y="38666"/>
                    <a:pt x="76515" y="38666"/>
                  </a:cubicBezTo>
                  <a:cubicBezTo>
                    <a:pt x="76097" y="37333"/>
                    <a:pt x="76097" y="37333"/>
                    <a:pt x="76097" y="37333"/>
                  </a:cubicBezTo>
                  <a:cubicBezTo>
                    <a:pt x="76933" y="36000"/>
                    <a:pt x="76933" y="36000"/>
                    <a:pt x="76933" y="36000"/>
                  </a:cubicBezTo>
                  <a:cubicBezTo>
                    <a:pt x="77770" y="34666"/>
                    <a:pt x="77770" y="34666"/>
                    <a:pt x="77770" y="34666"/>
                  </a:cubicBezTo>
                  <a:cubicBezTo>
                    <a:pt x="78188" y="34222"/>
                    <a:pt x="78188" y="34222"/>
                    <a:pt x="78188" y="34222"/>
                  </a:cubicBezTo>
                  <a:cubicBezTo>
                    <a:pt x="78188" y="33333"/>
                    <a:pt x="78188" y="33333"/>
                    <a:pt x="78188" y="33333"/>
                  </a:cubicBezTo>
                  <a:cubicBezTo>
                    <a:pt x="78606" y="32888"/>
                    <a:pt x="78606" y="32888"/>
                    <a:pt x="78606" y="32888"/>
                  </a:cubicBezTo>
                  <a:cubicBezTo>
                    <a:pt x="78606" y="32888"/>
                    <a:pt x="78606" y="32888"/>
                    <a:pt x="79024" y="32888"/>
                  </a:cubicBezTo>
                  <a:cubicBezTo>
                    <a:pt x="79024" y="32888"/>
                    <a:pt x="80696" y="32444"/>
                    <a:pt x="80696" y="32444"/>
                  </a:cubicBezTo>
                  <a:cubicBezTo>
                    <a:pt x="81533" y="32444"/>
                    <a:pt x="81533" y="32444"/>
                    <a:pt x="81533" y="32444"/>
                  </a:cubicBezTo>
                  <a:cubicBezTo>
                    <a:pt x="80696" y="31111"/>
                    <a:pt x="80696" y="31111"/>
                    <a:pt x="80696" y="31111"/>
                  </a:cubicBezTo>
                  <a:cubicBezTo>
                    <a:pt x="79024" y="29777"/>
                    <a:pt x="79024" y="29777"/>
                    <a:pt x="79024" y="29777"/>
                  </a:cubicBezTo>
                  <a:cubicBezTo>
                    <a:pt x="78188" y="28888"/>
                    <a:pt x="78188" y="28888"/>
                    <a:pt x="78188" y="28888"/>
                  </a:cubicBezTo>
                  <a:cubicBezTo>
                    <a:pt x="76933" y="28000"/>
                    <a:pt x="76933" y="28000"/>
                    <a:pt x="76933" y="28000"/>
                  </a:cubicBezTo>
                  <a:cubicBezTo>
                    <a:pt x="74843" y="27111"/>
                    <a:pt x="74843" y="27111"/>
                    <a:pt x="74843" y="27111"/>
                  </a:cubicBezTo>
                  <a:cubicBezTo>
                    <a:pt x="71080" y="26666"/>
                    <a:pt x="71080" y="26666"/>
                    <a:pt x="71080" y="26666"/>
                  </a:cubicBezTo>
                  <a:cubicBezTo>
                    <a:pt x="68153" y="28444"/>
                    <a:pt x="68153" y="28444"/>
                    <a:pt x="68153" y="28444"/>
                  </a:cubicBezTo>
                  <a:cubicBezTo>
                    <a:pt x="66480" y="30222"/>
                    <a:pt x="66480" y="30222"/>
                    <a:pt x="66480" y="30222"/>
                  </a:cubicBezTo>
                  <a:cubicBezTo>
                    <a:pt x="63554" y="30666"/>
                    <a:pt x="63554" y="30666"/>
                    <a:pt x="63554" y="30666"/>
                  </a:cubicBezTo>
                  <a:cubicBezTo>
                    <a:pt x="60209" y="30666"/>
                    <a:pt x="60209" y="30666"/>
                    <a:pt x="60209" y="30666"/>
                  </a:cubicBezTo>
                  <a:cubicBezTo>
                    <a:pt x="58536" y="32000"/>
                    <a:pt x="58536" y="32000"/>
                    <a:pt x="58536" y="32000"/>
                  </a:cubicBezTo>
                  <a:cubicBezTo>
                    <a:pt x="56445" y="36000"/>
                    <a:pt x="56445" y="36000"/>
                    <a:pt x="56445" y="36000"/>
                  </a:cubicBezTo>
                  <a:cubicBezTo>
                    <a:pt x="53937" y="37777"/>
                    <a:pt x="53937" y="37777"/>
                    <a:pt x="53937" y="37777"/>
                  </a:cubicBezTo>
                  <a:cubicBezTo>
                    <a:pt x="53519" y="37333"/>
                    <a:pt x="53519" y="37333"/>
                    <a:pt x="53519" y="37333"/>
                  </a:cubicBezTo>
                  <a:cubicBezTo>
                    <a:pt x="54355" y="35555"/>
                    <a:pt x="54355" y="35555"/>
                    <a:pt x="54355" y="35555"/>
                  </a:cubicBezTo>
                  <a:cubicBezTo>
                    <a:pt x="55609" y="34222"/>
                    <a:pt x="55609" y="34222"/>
                    <a:pt x="55609" y="34222"/>
                  </a:cubicBezTo>
                  <a:cubicBezTo>
                    <a:pt x="54773" y="32888"/>
                    <a:pt x="54773" y="32888"/>
                    <a:pt x="54773" y="32888"/>
                  </a:cubicBezTo>
                  <a:cubicBezTo>
                    <a:pt x="53101" y="33777"/>
                    <a:pt x="53101" y="33777"/>
                    <a:pt x="53101" y="33777"/>
                  </a:cubicBezTo>
                  <a:cubicBezTo>
                    <a:pt x="52264" y="34222"/>
                    <a:pt x="52264" y="34222"/>
                    <a:pt x="52264" y="34222"/>
                  </a:cubicBezTo>
                  <a:cubicBezTo>
                    <a:pt x="51428" y="36000"/>
                    <a:pt x="51428" y="36000"/>
                    <a:pt x="51428" y="36000"/>
                  </a:cubicBezTo>
                  <a:cubicBezTo>
                    <a:pt x="50592" y="36444"/>
                    <a:pt x="50592" y="36444"/>
                    <a:pt x="50592" y="36444"/>
                  </a:cubicBezTo>
                  <a:cubicBezTo>
                    <a:pt x="50174" y="36444"/>
                    <a:pt x="50174" y="36444"/>
                    <a:pt x="50174" y="36444"/>
                  </a:cubicBezTo>
                  <a:cubicBezTo>
                    <a:pt x="49337" y="33333"/>
                    <a:pt x="49337" y="33333"/>
                    <a:pt x="49337" y="33333"/>
                  </a:cubicBezTo>
                  <a:cubicBezTo>
                    <a:pt x="48919" y="33333"/>
                    <a:pt x="48919" y="33333"/>
                    <a:pt x="48919" y="33333"/>
                  </a:cubicBezTo>
                  <a:cubicBezTo>
                    <a:pt x="48083" y="36000"/>
                    <a:pt x="48083" y="36000"/>
                    <a:pt x="48083" y="36000"/>
                  </a:cubicBezTo>
                  <a:cubicBezTo>
                    <a:pt x="47665" y="37777"/>
                    <a:pt x="47665" y="37777"/>
                    <a:pt x="47665" y="37777"/>
                  </a:cubicBezTo>
                  <a:cubicBezTo>
                    <a:pt x="45993" y="40000"/>
                    <a:pt x="45993" y="40000"/>
                    <a:pt x="45993" y="40000"/>
                  </a:cubicBezTo>
                  <a:cubicBezTo>
                    <a:pt x="44738" y="44888"/>
                    <a:pt x="44738" y="44888"/>
                    <a:pt x="44738" y="44888"/>
                  </a:cubicBezTo>
                  <a:cubicBezTo>
                    <a:pt x="43902" y="47555"/>
                    <a:pt x="43902" y="47555"/>
                    <a:pt x="43902" y="47555"/>
                  </a:cubicBezTo>
                  <a:cubicBezTo>
                    <a:pt x="41393" y="49777"/>
                    <a:pt x="41393" y="49777"/>
                    <a:pt x="41393" y="49777"/>
                  </a:cubicBezTo>
                  <a:cubicBezTo>
                    <a:pt x="40557" y="48000"/>
                    <a:pt x="40557" y="48000"/>
                    <a:pt x="40557" y="48000"/>
                  </a:cubicBezTo>
                  <a:cubicBezTo>
                    <a:pt x="40139" y="44888"/>
                    <a:pt x="40139" y="44888"/>
                    <a:pt x="40139" y="44888"/>
                  </a:cubicBezTo>
                  <a:cubicBezTo>
                    <a:pt x="39721" y="44444"/>
                    <a:pt x="39721" y="44444"/>
                    <a:pt x="39721" y="44444"/>
                  </a:cubicBezTo>
                  <a:cubicBezTo>
                    <a:pt x="38885" y="43111"/>
                    <a:pt x="38885" y="43111"/>
                    <a:pt x="38885" y="43111"/>
                  </a:cubicBezTo>
                  <a:cubicBezTo>
                    <a:pt x="39303" y="41777"/>
                    <a:pt x="39303" y="41777"/>
                    <a:pt x="39303" y="41777"/>
                  </a:cubicBezTo>
                  <a:cubicBezTo>
                    <a:pt x="38885" y="39111"/>
                    <a:pt x="38885" y="39111"/>
                    <a:pt x="38885" y="39111"/>
                  </a:cubicBezTo>
                  <a:cubicBezTo>
                    <a:pt x="37630" y="37777"/>
                    <a:pt x="37630" y="37777"/>
                    <a:pt x="37630" y="37777"/>
                  </a:cubicBezTo>
                  <a:cubicBezTo>
                    <a:pt x="35121" y="36000"/>
                    <a:pt x="35121" y="36000"/>
                    <a:pt x="35121" y="36000"/>
                  </a:cubicBezTo>
                  <a:cubicBezTo>
                    <a:pt x="34285" y="34222"/>
                    <a:pt x="34285" y="34222"/>
                    <a:pt x="34285" y="34222"/>
                  </a:cubicBezTo>
                  <a:cubicBezTo>
                    <a:pt x="31358" y="33777"/>
                    <a:pt x="31358" y="33777"/>
                    <a:pt x="31358" y="33777"/>
                  </a:cubicBezTo>
                  <a:cubicBezTo>
                    <a:pt x="27595" y="33777"/>
                    <a:pt x="27595" y="33777"/>
                    <a:pt x="27595" y="33777"/>
                  </a:cubicBezTo>
                  <a:cubicBezTo>
                    <a:pt x="26759" y="32888"/>
                    <a:pt x="26759" y="32888"/>
                    <a:pt x="26759" y="32888"/>
                  </a:cubicBezTo>
                  <a:cubicBezTo>
                    <a:pt x="24250" y="32888"/>
                    <a:pt x="24250" y="32888"/>
                    <a:pt x="24250" y="32888"/>
                  </a:cubicBezTo>
                  <a:cubicBezTo>
                    <a:pt x="20905" y="32444"/>
                    <a:pt x="20905" y="32444"/>
                    <a:pt x="20905" y="32444"/>
                  </a:cubicBezTo>
                  <a:cubicBezTo>
                    <a:pt x="20487" y="31555"/>
                    <a:pt x="20487" y="31555"/>
                    <a:pt x="20487" y="31555"/>
                  </a:cubicBezTo>
                  <a:cubicBezTo>
                    <a:pt x="17979" y="30222"/>
                    <a:pt x="17979" y="30222"/>
                    <a:pt x="17979" y="30222"/>
                  </a:cubicBezTo>
                  <a:cubicBezTo>
                    <a:pt x="15052" y="29777"/>
                    <a:pt x="15052" y="29777"/>
                    <a:pt x="15052" y="29777"/>
                  </a:cubicBezTo>
                  <a:cubicBezTo>
                    <a:pt x="12125" y="28888"/>
                    <a:pt x="12125" y="28888"/>
                    <a:pt x="12125" y="28888"/>
                  </a:cubicBezTo>
                  <a:cubicBezTo>
                    <a:pt x="8780" y="27555"/>
                    <a:pt x="8780" y="27555"/>
                    <a:pt x="8780" y="27555"/>
                  </a:cubicBezTo>
                  <a:cubicBezTo>
                    <a:pt x="6689" y="26222"/>
                    <a:pt x="6689" y="26222"/>
                    <a:pt x="6689" y="26222"/>
                  </a:cubicBezTo>
                  <a:cubicBezTo>
                    <a:pt x="5017" y="26222"/>
                    <a:pt x="5017" y="26222"/>
                    <a:pt x="5017" y="26222"/>
                  </a:cubicBezTo>
                  <a:cubicBezTo>
                    <a:pt x="4599" y="26222"/>
                    <a:pt x="4599" y="26222"/>
                    <a:pt x="4599" y="26222"/>
                  </a:cubicBezTo>
                  <a:cubicBezTo>
                    <a:pt x="3763" y="25333"/>
                    <a:pt x="3763" y="25333"/>
                    <a:pt x="3763" y="25333"/>
                  </a:cubicBezTo>
                  <a:cubicBezTo>
                    <a:pt x="2926" y="24000"/>
                    <a:pt x="2926" y="24000"/>
                    <a:pt x="2926" y="24000"/>
                  </a:cubicBezTo>
                  <a:cubicBezTo>
                    <a:pt x="0" y="23111"/>
                    <a:pt x="0" y="23111"/>
                    <a:pt x="0" y="23111"/>
                  </a:cubicBezTo>
                  <a:lnTo>
                    <a:pt x="0" y="22666"/>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4" name="Shape 1431">
              <a:extLst>
                <a:ext uri="{FF2B5EF4-FFF2-40B4-BE49-F238E27FC236}">
                  <a16:creationId xmlns:a16="http://schemas.microsoft.com/office/drawing/2014/main" id="{9F78A9E0-1E20-5DDD-87A2-4E8BF8F239BF}"/>
                </a:ext>
              </a:extLst>
            </p:cNvPr>
            <p:cNvSpPr/>
            <p:nvPr/>
          </p:nvSpPr>
          <p:spPr>
            <a:xfrm>
              <a:off x="6848078" y="1986052"/>
              <a:ext cx="286694" cy="305247"/>
            </a:xfrm>
            <a:custGeom>
              <a:avLst/>
              <a:gdLst/>
              <a:ahLst/>
              <a:cxnLst/>
              <a:rect l="0" t="0" r="0" b="0"/>
              <a:pathLst>
                <a:path w="120000" h="120000" extrusionOk="0">
                  <a:moveTo>
                    <a:pt x="106268" y="38873"/>
                  </a:moveTo>
                  <a:cubicBezTo>
                    <a:pt x="105671" y="38309"/>
                    <a:pt x="105671" y="38309"/>
                    <a:pt x="105671" y="38309"/>
                  </a:cubicBezTo>
                  <a:cubicBezTo>
                    <a:pt x="104477" y="36619"/>
                    <a:pt x="104477" y="36619"/>
                    <a:pt x="104477" y="36619"/>
                  </a:cubicBezTo>
                  <a:cubicBezTo>
                    <a:pt x="105074" y="34929"/>
                    <a:pt x="105074" y="34929"/>
                    <a:pt x="105074" y="34929"/>
                  </a:cubicBezTo>
                  <a:cubicBezTo>
                    <a:pt x="104477" y="31549"/>
                    <a:pt x="104477" y="31549"/>
                    <a:pt x="104477" y="31549"/>
                  </a:cubicBezTo>
                  <a:cubicBezTo>
                    <a:pt x="102686" y="29859"/>
                    <a:pt x="102686" y="29859"/>
                    <a:pt x="102686" y="29859"/>
                  </a:cubicBezTo>
                  <a:cubicBezTo>
                    <a:pt x="99104" y="27605"/>
                    <a:pt x="99104" y="27605"/>
                    <a:pt x="99104" y="27605"/>
                  </a:cubicBezTo>
                  <a:cubicBezTo>
                    <a:pt x="97910" y="25352"/>
                    <a:pt x="97910" y="25352"/>
                    <a:pt x="97910" y="25352"/>
                  </a:cubicBezTo>
                  <a:cubicBezTo>
                    <a:pt x="93731" y="24788"/>
                    <a:pt x="93731" y="24788"/>
                    <a:pt x="93731" y="24788"/>
                  </a:cubicBezTo>
                  <a:cubicBezTo>
                    <a:pt x="88358" y="24788"/>
                    <a:pt x="88358" y="24788"/>
                    <a:pt x="88358" y="24788"/>
                  </a:cubicBezTo>
                  <a:cubicBezTo>
                    <a:pt x="87164" y="23661"/>
                    <a:pt x="87164" y="23661"/>
                    <a:pt x="87164" y="23661"/>
                  </a:cubicBezTo>
                  <a:cubicBezTo>
                    <a:pt x="83582" y="23661"/>
                    <a:pt x="83582" y="23661"/>
                    <a:pt x="83582" y="23661"/>
                  </a:cubicBezTo>
                  <a:cubicBezTo>
                    <a:pt x="78805" y="23098"/>
                    <a:pt x="78805" y="23098"/>
                    <a:pt x="78805" y="23098"/>
                  </a:cubicBezTo>
                  <a:cubicBezTo>
                    <a:pt x="78208" y="21971"/>
                    <a:pt x="78208" y="21971"/>
                    <a:pt x="78208" y="21971"/>
                  </a:cubicBezTo>
                  <a:cubicBezTo>
                    <a:pt x="74626" y="20281"/>
                    <a:pt x="74626" y="20281"/>
                    <a:pt x="74626" y="20281"/>
                  </a:cubicBezTo>
                  <a:cubicBezTo>
                    <a:pt x="70447" y="19718"/>
                    <a:pt x="70447" y="19718"/>
                    <a:pt x="70447" y="19718"/>
                  </a:cubicBezTo>
                  <a:cubicBezTo>
                    <a:pt x="66268" y="18591"/>
                    <a:pt x="66268" y="18591"/>
                    <a:pt x="66268" y="18591"/>
                  </a:cubicBezTo>
                  <a:cubicBezTo>
                    <a:pt x="61492" y="16901"/>
                    <a:pt x="61492" y="16901"/>
                    <a:pt x="61492" y="16901"/>
                  </a:cubicBezTo>
                  <a:cubicBezTo>
                    <a:pt x="58507" y="15211"/>
                    <a:pt x="58507" y="15211"/>
                    <a:pt x="58507" y="15211"/>
                  </a:cubicBezTo>
                  <a:cubicBezTo>
                    <a:pt x="56119" y="15211"/>
                    <a:pt x="56119" y="15211"/>
                    <a:pt x="56119" y="15211"/>
                  </a:cubicBezTo>
                  <a:cubicBezTo>
                    <a:pt x="55522" y="15211"/>
                    <a:pt x="55522" y="15211"/>
                    <a:pt x="55522" y="15211"/>
                  </a:cubicBezTo>
                  <a:cubicBezTo>
                    <a:pt x="54328" y="14084"/>
                    <a:pt x="54328" y="14084"/>
                    <a:pt x="54328" y="14084"/>
                  </a:cubicBezTo>
                  <a:cubicBezTo>
                    <a:pt x="53134" y="12394"/>
                    <a:pt x="53134" y="12394"/>
                    <a:pt x="53134" y="12394"/>
                  </a:cubicBezTo>
                  <a:cubicBezTo>
                    <a:pt x="48955" y="11267"/>
                    <a:pt x="48955" y="11267"/>
                    <a:pt x="48955" y="11267"/>
                  </a:cubicBezTo>
                  <a:cubicBezTo>
                    <a:pt x="48955" y="11267"/>
                    <a:pt x="48955" y="11267"/>
                    <a:pt x="48955" y="11267"/>
                  </a:cubicBezTo>
                  <a:cubicBezTo>
                    <a:pt x="48358" y="11267"/>
                    <a:pt x="48358" y="11267"/>
                    <a:pt x="48358" y="11267"/>
                  </a:cubicBezTo>
                  <a:cubicBezTo>
                    <a:pt x="46567" y="10140"/>
                    <a:pt x="46567" y="10140"/>
                    <a:pt x="46567" y="10140"/>
                  </a:cubicBezTo>
                  <a:cubicBezTo>
                    <a:pt x="44776" y="9014"/>
                    <a:pt x="44776" y="9014"/>
                    <a:pt x="44776" y="9014"/>
                  </a:cubicBezTo>
                  <a:cubicBezTo>
                    <a:pt x="42985" y="8450"/>
                    <a:pt x="42985" y="8450"/>
                    <a:pt x="42985" y="8450"/>
                  </a:cubicBezTo>
                  <a:cubicBezTo>
                    <a:pt x="41791" y="9577"/>
                    <a:pt x="41791" y="9577"/>
                    <a:pt x="41791" y="9577"/>
                  </a:cubicBezTo>
                  <a:cubicBezTo>
                    <a:pt x="40000" y="10140"/>
                    <a:pt x="40000" y="10140"/>
                    <a:pt x="40000" y="10140"/>
                  </a:cubicBezTo>
                  <a:cubicBezTo>
                    <a:pt x="39402" y="9577"/>
                    <a:pt x="39402" y="9577"/>
                    <a:pt x="39402" y="9577"/>
                  </a:cubicBezTo>
                  <a:cubicBezTo>
                    <a:pt x="40000" y="8450"/>
                    <a:pt x="40000" y="8450"/>
                    <a:pt x="40000" y="8450"/>
                  </a:cubicBezTo>
                  <a:cubicBezTo>
                    <a:pt x="40597" y="5070"/>
                    <a:pt x="40597" y="5070"/>
                    <a:pt x="40597" y="5070"/>
                  </a:cubicBezTo>
                  <a:cubicBezTo>
                    <a:pt x="41194" y="3943"/>
                    <a:pt x="41194" y="3943"/>
                    <a:pt x="41194" y="3943"/>
                  </a:cubicBezTo>
                  <a:cubicBezTo>
                    <a:pt x="41791" y="1126"/>
                    <a:pt x="41791" y="1126"/>
                    <a:pt x="41791" y="1126"/>
                  </a:cubicBezTo>
                  <a:cubicBezTo>
                    <a:pt x="40000" y="0"/>
                    <a:pt x="40000" y="0"/>
                    <a:pt x="40000" y="0"/>
                  </a:cubicBezTo>
                  <a:cubicBezTo>
                    <a:pt x="38805" y="563"/>
                    <a:pt x="38805" y="563"/>
                    <a:pt x="38805" y="563"/>
                  </a:cubicBezTo>
                  <a:cubicBezTo>
                    <a:pt x="36417" y="1690"/>
                    <a:pt x="36417" y="1690"/>
                    <a:pt x="36417" y="1690"/>
                  </a:cubicBezTo>
                  <a:cubicBezTo>
                    <a:pt x="34029" y="2253"/>
                    <a:pt x="34029" y="2253"/>
                    <a:pt x="34029" y="2253"/>
                  </a:cubicBezTo>
                  <a:cubicBezTo>
                    <a:pt x="31044" y="3380"/>
                    <a:pt x="31044" y="3380"/>
                    <a:pt x="31044" y="3380"/>
                  </a:cubicBezTo>
                  <a:cubicBezTo>
                    <a:pt x="28059" y="5070"/>
                    <a:pt x="28059" y="5070"/>
                    <a:pt x="28059" y="5070"/>
                  </a:cubicBezTo>
                  <a:cubicBezTo>
                    <a:pt x="23283" y="7323"/>
                    <a:pt x="23283" y="7323"/>
                    <a:pt x="23283" y="7323"/>
                  </a:cubicBezTo>
                  <a:cubicBezTo>
                    <a:pt x="22089" y="9014"/>
                    <a:pt x="22089" y="9014"/>
                    <a:pt x="22089" y="9014"/>
                  </a:cubicBezTo>
                  <a:cubicBezTo>
                    <a:pt x="19701" y="9014"/>
                    <a:pt x="19701" y="9014"/>
                    <a:pt x="19701" y="9014"/>
                  </a:cubicBezTo>
                  <a:cubicBezTo>
                    <a:pt x="16716" y="7887"/>
                    <a:pt x="16716" y="7887"/>
                    <a:pt x="16716" y="7887"/>
                  </a:cubicBezTo>
                  <a:cubicBezTo>
                    <a:pt x="14925" y="6197"/>
                    <a:pt x="14925" y="6197"/>
                    <a:pt x="14925" y="6197"/>
                  </a:cubicBezTo>
                  <a:cubicBezTo>
                    <a:pt x="12537" y="8450"/>
                    <a:pt x="12537" y="8450"/>
                    <a:pt x="12537" y="8450"/>
                  </a:cubicBezTo>
                  <a:cubicBezTo>
                    <a:pt x="11940" y="24225"/>
                    <a:pt x="11940" y="24225"/>
                    <a:pt x="11940" y="24225"/>
                  </a:cubicBezTo>
                  <a:cubicBezTo>
                    <a:pt x="4179" y="28732"/>
                    <a:pt x="4179" y="28732"/>
                    <a:pt x="4179" y="28732"/>
                  </a:cubicBezTo>
                  <a:cubicBezTo>
                    <a:pt x="2985" y="30985"/>
                    <a:pt x="2985" y="30985"/>
                    <a:pt x="2985" y="30985"/>
                  </a:cubicBezTo>
                  <a:cubicBezTo>
                    <a:pt x="0" y="37183"/>
                    <a:pt x="0" y="37183"/>
                    <a:pt x="0" y="37183"/>
                  </a:cubicBezTo>
                  <a:cubicBezTo>
                    <a:pt x="2985" y="40563"/>
                    <a:pt x="2985" y="40563"/>
                    <a:pt x="2985" y="40563"/>
                  </a:cubicBezTo>
                  <a:cubicBezTo>
                    <a:pt x="4179" y="40563"/>
                    <a:pt x="4179" y="40563"/>
                    <a:pt x="4179" y="40563"/>
                  </a:cubicBezTo>
                  <a:cubicBezTo>
                    <a:pt x="2985" y="50140"/>
                    <a:pt x="2985" y="50140"/>
                    <a:pt x="2985" y="50140"/>
                  </a:cubicBezTo>
                  <a:cubicBezTo>
                    <a:pt x="2388" y="60281"/>
                    <a:pt x="2388" y="60281"/>
                    <a:pt x="2388" y="60281"/>
                  </a:cubicBezTo>
                  <a:cubicBezTo>
                    <a:pt x="5970" y="63098"/>
                    <a:pt x="5970" y="63098"/>
                    <a:pt x="5970" y="63098"/>
                  </a:cubicBezTo>
                  <a:cubicBezTo>
                    <a:pt x="11343" y="65915"/>
                    <a:pt x="11343" y="65915"/>
                    <a:pt x="11343" y="65915"/>
                  </a:cubicBezTo>
                  <a:cubicBezTo>
                    <a:pt x="19701" y="70422"/>
                    <a:pt x="19701" y="70422"/>
                    <a:pt x="19701" y="70422"/>
                  </a:cubicBezTo>
                  <a:cubicBezTo>
                    <a:pt x="25074" y="76056"/>
                    <a:pt x="25074" y="76056"/>
                    <a:pt x="25074" y="76056"/>
                  </a:cubicBezTo>
                  <a:cubicBezTo>
                    <a:pt x="26865" y="78309"/>
                    <a:pt x="26865" y="78309"/>
                    <a:pt x="26865" y="78309"/>
                  </a:cubicBezTo>
                  <a:cubicBezTo>
                    <a:pt x="31044" y="81126"/>
                    <a:pt x="31044" y="81126"/>
                    <a:pt x="31044" y="81126"/>
                  </a:cubicBezTo>
                  <a:cubicBezTo>
                    <a:pt x="35820" y="85633"/>
                    <a:pt x="35820" y="85633"/>
                    <a:pt x="35820" y="85633"/>
                  </a:cubicBezTo>
                  <a:cubicBezTo>
                    <a:pt x="36417" y="89577"/>
                    <a:pt x="36417" y="89577"/>
                    <a:pt x="36417" y="89577"/>
                  </a:cubicBezTo>
                  <a:cubicBezTo>
                    <a:pt x="35820" y="93521"/>
                    <a:pt x="35820" y="93521"/>
                    <a:pt x="35820" y="93521"/>
                  </a:cubicBezTo>
                  <a:cubicBezTo>
                    <a:pt x="37611" y="97464"/>
                    <a:pt x="37611" y="97464"/>
                    <a:pt x="37611" y="97464"/>
                  </a:cubicBezTo>
                  <a:cubicBezTo>
                    <a:pt x="38805" y="99154"/>
                    <a:pt x="38805" y="99154"/>
                    <a:pt x="38805" y="99154"/>
                  </a:cubicBezTo>
                  <a:cubicBezTo>
                    <a:pt x="38805" y="103098"/>
                    <a:pt x="38805" y="103098"/>
                    <a:pt x="38805" y="103098"/>
                  </a:cubicBezTo>
                  <a:cubicBezTo>
                    <a:pt x="38805" y="105352"/>
                    <a:pt x="38805" y="105352"/>
                    <a:pt x="38805" y="105352"/>
                  </a:cubicBezTo>
                  <a:cubicBezTo>
                    <a:pt x="38805" y="108732"/>
                    <a:pt x="38805" y="108732"/>
                    <a:pt x="38805" y="108732"/>
                  </a:cubicBezTo>
                  <a:cubicBezTo>
                    <a:pt x="40000" y="111549"/>
                    <a:pt x="40000" y="111549"/>
                    <a:pt x="40000" y="111549"/>
                  </a:cubicBezTo>
                  <a:cubicBezTo>
                    <a:pt x="40000" y="114366"/>
                    <a:pt x="40000" y="114366"/>
                    <a:pt x="40000" y="114366"/>
                  </a:cubicBezTo>
                  <a:cubicBezTo>
                    <a:pt x="42985" y="114366"/>
                    <a:pt x="42985" y="114366"/>
                    <a:pt x="42985" y="114366"/>
                  </a:cubicBezTo>
                  <a:cubicBezTo>
                    <a:pt x="42985" y="114366"/>
                    <a:pt x="45373" y="116619"/>
                    <a:pt x="45970" y="116619"/>
                  </a:cubicBezTo>
                  <a:cubicBezTo>
                    <a:pt x="46567" y="116619"/>
                    <a:pt x="48955" y="117746"/>
                    <a:pt x="48955" y="117746"/>
                  </a:cubicBezTo>
                  <a:cubicBezTo>
                    <a:pt x="50746" y="119999"/>
                    <a:pt x="50746" y="119999"/>
                    <a:pt x="50746" y="119999"/>
                  </a:cubicBezTo>
                  <a:cubicBezTo>
                    <a:pt x="109850" y="116619"/>
                    <a:pt x="109850" y="116619"/>
                    <a:pt x="109850" y="116619"/>
                  </a:cubicBezTo>
                  <a:cubicBezTo>
                    <a:pt x="109850" y="109859"/>
                    <a:pt x="109850" y="109859"/>
                    <a:pt x="109850" y="109859"/>
                  </a:cubicBezTo>
                  <a:cubicBezTo>
                    <a:pt x="109850" y="107605"/>
                    <a:pt x="109850" y="107605"/>
                    <a:pt x="109850" y="107605"/>
                  </a:cubicBezTo>
                  <a:cubicBezTo>
                    <a:pt x="106865" y="100845"/>
                    <a:pt x="106865" y="100845"/>
                    <a:pt x="106865" y="100845"/>
                  </a:cubicBezTo>
                  <a:cubicBezTo>
                    <a:pt x="106268" y="96901"/>
                    <a:pt x="106268" y="96901"/>
                    <a:pt x="106268" y="96901"/>
                  </a:cubicBezTo>
                  <a:cubicBezTo>
                    <a:pt x="106865" y="92394"/>
                    <a:pt x="106865" y="92394"/>
                    <a:pt x="106865" y="92394"/>
                  </a:cubicBezTo>
                  <a:cubicBezTo>
                    <a:pt x="108059" y="89014"/>
                    <a:pt x="108059" y="89014"/>
                    <a:pt x="108059" y="89014"/>
                  </a:cubicBezTo>
                  <a:cubicBezTo>
                    <a:pt x="108656" y="87323"/>
                    <a:pt x="108656" y="87323"/>
                    <a:pt x="108656" y="87323"/>
                  </a:cubicBezTo>
                  <a:cubicBezTo>
                    <a:pt x="109850" y="85633"/>
                    <a:pt x="109850" y="85633"/>
                    <a:pt x="109850" y="85633"/>
                  </a:cubicBezTo>
                  <a:cubicBezTo>
                    <a:pt x="108656" y="82816"/>
                    <a:pt x="108656" y="82816"/>
                    <a:pt x="108656" y="82816"/>
                  </a:cubicBezTo>
                  <a:cubicBezTo>
                    <a:pt x="108656" y="78873"/>
                    <a:pt x="108656" y="78873"/>
                    <a:pt x="108656" y="78873"/>
                  </a:cubicBezTo>
                  <a:cubicBezTo>
                    <a:pt x="108656" y="76619"/>
                    <a:pt x="108656" y="76619"/>
                    <a:pt x="108656" y="76619"/>
                  </a:cubicBezTo>
                  <a:cubicBezTo>
                    <a:pt x="109850" y="74929"/>
                    <a:pt x="109850" y="74929"/>
                    <a:pt x="109850" y="74929"/>
                  </a:cubicBezTo>
                  <a:cubicBezTo>
                    <a:pt x="109850" y="73802"/>
                    <a:pt x="109850" y="73802"/>
                    <a:pt x="109850" y="73802"/>
                  </a:cubicBezTo>
                  <a:cubicBezTo>
                    <a:pt x="112238" y="71549"/>
                    <a:pt x="112238" y="71549"/>
                    <a:pt x="112238" y="71549"/>
                  </a:cubicBezTo>
                  <a:cubicBezTo>
                    <a:pt x="112238" y="70422"/>
                    <a:pt x="112238" y="70422"/>
                    <a:pt x="112238" y="70422"/>
                  </a:cubicBezTo>
                  <a:cubicBezTo>
                    <a:pt x="111044" y="68169"/>
                    <a:pt x="111044" y="68169"/>
                    <a:pt x="111044" y="68169"/>
                  </a:cubicBezTo>
                  <a:cubicBezTo>
                    <a:pt x="111044" y="66478"/>
                    <a:pt x="111044" y="66478"/>
                    <a:pt x="111044" y="66478"/>
                  </a:cubicBezTo>
                  <a:cubicBezTo>
                    <a:pt x="111641" y="61971"/>
                    <a:pt x="111641" y="61971"/>
                    <a:pt x="111641" y="61971"/>
                  </a:cubicBezTo>
                  <a:cubicBezTo>
                    <a:pt x="112238" y="59154"/>
                    <a:pt x="112238" y="59154"/>
                    <a:pt x="112238" y="59154"/>
                  </a:cubicBezTo>
                  <a:cubicBezTo>
                    <a:pt x="114029" y="55774"/>
                    <a:pt x="114029" y="55774"/>
                    <a:pt x="114029" y="55774"/>
                  </a:cubicBezTo>
                  <a:cubicBezTo>
                    <a:pt x="117014" y="50140"/>
                    <a:pt x="117014" y="50140"/>
                    <a:pt x="117014" y="50140"/>
                  </a:cubicBezTo>
                  <a:cubicBezTo>
                    <a:pt x="117611" y="47887"/>
                    <a:pt x="117611" y="47887"/>
                    <a:pt x="117611" y="47887"/>
                  </a:cubicBezTo>
                  <a:cubicBezTo>
                    <a:pt x="117611" y="46197"/>
                    <a:pt x="117611" y="46197"/>
                    <a:pt x="117611" y="46197"/>
                  </a:cubicBezTo>
                  <a:cubicBezTo>
                    <a:pt x="120000" y="45633"/>
                    <a:pt x="120000" y="45633"/>
                    <a:pt x="120000" y="45633"/>
                  </a:cubicBezTo>
                  <a:cubicBezTo>
                    <a:pt x="120000" y="44507"/>
                    <a:pt x="120000" y="44507"/>
                    <a:pt x="120000" y="44507"/>
                  </a:cubicBezTo>
                  <a:cubicBezTo>
                    <a:pt x="120000" y="43380"/>
                    <a:pt x="120000" y="43380"/>
                    <a:pt x="120000" y="43380"/>
                  </a:cubicBezTo>
                  <a:cubicBezTo>
                    <a:pt x="120000" y="42253"/>
                    <a:pt x="120000" y="42253"/>
                    <a:pt x="120000" y="42253"/>
                  </a:cubicBezTo>
                  <a:cubicBezTo>
                    <a:pt x="120000" y="41126"/>
                    <a:pt x="120000" y="41126"/>
                    <a:pt x="120000" y="41126"/>
                  </a:cubicBezTo>
                  <a:cubicBezTo>
                    <a:pt x="120000" y="40000"/>
                    <a:pt x="120000" y="40000"/>
                    <a:pt x="120000" y="40000"/>
                  </a:cubicBezTo>
                  <a:cubicBezTo>
                    <a:pt x="117611" y="42253"/>
                    <a:pt x="117611" y="42253"/>
                    <a:pt x="117611" y="42253"/>
                  </a:cubicBezTo>
                  <a:cubicBezTo>
                    <a:pt x="115820" y="44507"/>
                    <a:pt x="115820" y="44507"/>
                    <a:pt x="115820" y="44507"/>
                  </a:cubicBezTo>
                  <a:cubicBezTo>
                    <a:pt x="115223" y="47323"/>
                    <a:pt x="115223" y="47323"/>
                    <a:pt x="115223" y="47323"/>
                  </a:cubicBezTo>
                  <a:cubicBezTo>
                    <a:pt x="113432" y="50704"/>
                    <a:pt x="113432" y="50704"/>
                    <a:pt x="113432" y="50704"/>
                  </a:cubicBezTo>
                  <a:cubicBezTo>
                    <a:pt x="111641" y="51830"/>
                    <a:pt x="111641" y="51830"/>
                    <a:pt x="111641" y="51830"/>
                  </a:cubicBezTo>
                  <a:cubicBezTo>
                    <a:pt x="108059" y="53521"/>
                    <a:pt x="108059" y="53521"/>
                    <a:pt x="108059" y="53521"/>
                  </a:cubicBezTo>
                  <a:cubicBezTo>
                    <a:pt x="106268" y="55774"/>
                    <a:pt x="106268" y="55774"/>
                    <a:pt x="106268" y="55774"/>
                  </a:cubicBezTo>
                  <a:cubicBezTo>
                    <a:pt x="105671" y="56901"/>
                    <a:pt x="105671" y="56901"/>
                    <a:pt x="105671" y="56901"/>
                  </a:cubicBezTo>
                  <a:cubicBezTo>
                    <a:pt x="104477" y="59154"/>
                    <a:pt x="104477" y="59154"/>
                    <a:pt x="104477" y="59154"/>
                  </a:cubicBezTo>
                  <a:cubicBezTo>
                    <a:pt x="102089" y="61971"/>
                    <a:pt x="102089" y="61971"/>
                    <a:pt x="102089" y="61971"/>
                  </a:cubicBezTo>
                  <a:cubicBezTo>
                    <a:pt x="100298" y="60281"/>
                    <a:pt x="100298" y="60281"/>
                    <a:pt x="100298" y="60281"/>
                  </a:cubicBezTo>
                  <a:cubicBezTo>
                    <a:pt x="102089" y="58028"/>
                    <a:pt x="102089" y="58028"/>
                    <a:pt x="102089" y="58028"/>
                  </a:cubicBezTo>
                  <a:cubicBezTo>
                    <a:pt x="103283" y="54084"/>
                    <a:pt x="103283" y="54084"/>
                    <a:pt x="103283" y="54084"/>
                  </a:cubicBezTo>
                  <a:cubicBezTo>
                    <a:pt x="103880" y="52394"/>
                    <a:pt x="103880" y="52394"/>
                    <a:pt x="103880" y="52394"/>
                  </a:cubicBezTo>
                  <a:cubicBezTo>
                    <a:pt x="104477" y="51267"/>
                    <a:pt x="104477" y="51267"/>
                    <a:pt x="104477" y="51267"/>
                  </a:cubicBezTo>
                  <a:cubicBezTo>
                    <a:pt x="105671" y="50140"/>
                    <a:pt x="105671" y="50140"/>
                    <a:pt x="105671" y="50140"/>
                  </a:cubicBezTo>
                  <a:cubicBezTo>
                    <a:pt x="106865" y="49014"/>
                    <a:pt x="106865" y="49014"/>
                    <a:pt x="106865" y="49014"/>
                  </a:cubicBezTo>
                  <a:cubicBezTo>
                    <a:pt x="107462" y="47887"/>
                    <a:pt x="107462" y="47887"/>
                    <a:pt x="107462" y="47887"/>
                  </a:cubicBezTo>
                  <a:cubicBezTo>
                    <a:pt x="106865" y="45070"/>
                    <a:pt x="106865" y="45070"/>
                    <a:pt x="106865" y="45070"/>
                  </a:cubicBezTo>
                  <a:cubicBezTo>
                    <a:pt x="107462" y="43943"/>
                    <a:pt x="107462" y="43943"/>
                    <a:pt x="107462" y="43943"/>
                  </a:cubicBezTo>
                  <a:cubicBezTo>
                    <a:pt x="106865" y="42816"/>
                    <a:pt x="106865" y="42816"/>
                    <a:pt x="106865" y="42816"/>
                  </a:cubicBezTo>
                  <a:lnTo>
                    <a:pt x="106268" y="38873"/>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5" name="Shape 1432">
              <a:extLst>
                <a:ext uri="{FF2B5EF4-FFF2-40B4-BE49-F238E27FC236}">
                  <a16:creationId xmlns:a16="http://schemas.microsoft.com/office/drawing/2014/main" id="{48014E9E-8474-7B4A-6825-583A8B91F5B3}"/>
                </a:ext>
              </a:extLst>
            </p:cNvPr>
            <p:cNvSpPr/>
            <p:nvPr/>
          </p:nvSpPr>
          <p:spPr>
            <a:xfrm>
              <a:off x="7268003" y="2274433"/>
              <a:ext cx="229356" cy="263085"/>
            </a:xfrm>
            <a:custGeom>
              <a:avLst/>
              <a:gdLst/>
              <a:ahLst/>
              <a:cxnLst/>
              <a:rect l="0" t="0" r="0" b="0"/>
              <a:pathLst>
                <a:path w="120000" h="120000" extrusionOk="0">
                  <a:moveTo>
                    <a:pt x="106764" y="3846"/>
                  </a:moveTo>
                  <a:lnTo>
                    <a:pt x="100588" y="6153"/>
                  </a:lnTo>
                  <a:lnTo>
                    <a:pt x="95294" y="10000"/>
                  </a:lnTo>
                  <a:lnTo>
                    <a:pt x="89117" y="13076"/>
                  </a:lnTo>
                  <a:lnTo>
                    <a:pt x="84705" y="16153"/>
                  </a:lnTo>
                  <a:lnTo>
                    <a:pt x="82058" y="16923"/>
                  </a:lnTo>
                  <a:lnTo>
                    <a:pt x="80294" y="18461"/>
                  </a:lnTo>
                  <a:lnTo>
                    <a:pt x="77647" y="20769"/>
                  </a:lnTo>
                  <a:lnTo>
                    <a:pt x="75000" y="20769"/>
                  </a:lnTo>
                  <a:lnTo>
                    <a:pt x="72352" y="20769"/>
                  </a:lnTo>
                  <a:lnTo>
                    <a:pt x="68823" y="22307"/>
                  </a:lnTo>
                  <a:lnTo>
                    <a:pt x="65294" y="25384"/>
                  </a:lnTo>
                  <a:lnTo>
                    <a:pt x="62647" y="25384"/>
                  </a:lnTo>
                  <a:lnTo>
                    <a:pt x="60882" y="25384"/>
                  </a:lnTo>
                  <a:lnTo>
                    <a:pt x="60000" y="25384"/>
                  </a:lnTo>
                  <a:lnTo>
                    <a:pt x="57352" y="23846"/>
                  </a:lnTo>
                  <a:lnTo>
                    <a:pt x="54705" y="21538"/>
                  </a:lnTo>
                  <a:lnTo>
                    <a:pt x="52941" y="22307"/>
                  </a:lnTo>
                  <a:lnTo>
                    <a:pt x="49411" y="21538"/>
                  </a:lnTo>
                  <a:lnTo>
                    <a:pt x="48529" y="20769"/>
                  </a:lnTo>
                  <a:lnTo>
                    <a:pt x="45000" y="18461"/>
                  </a:lnTo>
                  <a:lnTo>
                    <a:pt x="41470" y="17692"/>
                  </a:lnTo>
                  <a:lnTo>
                    <a:pt x="34411" y="16923"/>
                  </a:lnTo>
                  <a:lnTo>
                    <a:pt x="0" y="21538"/>
                  </a:lnTo>
                  <a:lnTo>
                    <a:pt x="9705" y="103076"/>
                  </a:lnTo>
                  <a:lnTo>
                    <a:pt x="14117" y="104615"/>
                  </a:lnTo>
                  <a:lnTo>
                    <a:pt x="18529" y="103076"/>
                  </a:lnTo>
                  <a:lnTo>
                    <a:pt x="19411" y="102307"/>
                  </a:lnTo>
                  <a:lnTo>
                    <a:pt x="23823" y="105384"/>
                  </a:lnTo>
                  <a:lnTo>
                    <a:pt x="27352" y="107692"/>
                  </a:lnTo>
                  <a:lnTo>
                    <a:pt x="29117" y="110769"/>
                  </a:lnTo>
                  <a:lnTo>
                    <a:pt x="30000" y="112307"/>
                  </a:lnTo>
                  <a:lnTo>
                    <a:pt x="34411" y="113076"/>
                  </a:lnTo>
                  <a:lnTo>
                    <a:pt x="37058" y="113846"/>
                  </a:lnTo>
                  <a:lnTo>
                    <a:pt x="38823" y="114615"/>
                  </a:lnTo>
                  <a:lnTo>
                    <a:pt x="40588" y="116153"/>
                  </a:lnTo>
                  <a:lnTo>
                    <a:pt x="43235" y="115384"/>
                  </a:lnTo>
                  <a:lnTo>
                    <a:pt x="43235" y="114615"/>
                  </a:lnTo>
                  <a:lnTo>
                    <a:pt x="45000" y="113076"/>
                  </a:lnTo>
                  <a:lnTo>
                    <a:pt x="45882" y="112307"/>
                  </a:lnTo>
                  <a:lnTo>
                    <a:pt x="48529" y="113846"/>
                  </a:lnTo>
                  <a:lnTo>
                    <a:pt x="52941" y="115384"/>
                  </a:lnTo>
                  <a:lnTo>
                    <a:pt x="58235" y="114615"/>
                  </a:lnTo>
                  <a:lnTo>
                    <a:pt x="59117" y="113846"/>
                  </a:lnTo>
                  <a:lnTo>
                    <a:pt x="60882" y="111538"/>
                  </a:lnTo>
                  <a:lnTo>
                    <a:pt x="62647" y="110769"/>
                  </a:lnTo>
                  <a:lnTo>
                    <a:pt x="63529" y="110000"/>
                  </a:lnTo>
                  <a:lnTo>
                    <a:pt x="66176" y="112307"/>
                  </a:lnTo>
                  <a:lnTo>
                    <a:pt x="69705" y="116153"/>
                  </a:lnTo>
                  <a:lnTo>
                    <a:pt x="73235" y="119230"/>
                  </a:lnTo>
                  <a:lnTo>
                    <a:pt x="75882" y="119230"/>
                  </a:lnTo>
                  <a:lnTo>
                    <a:pt x="75000" y="120000"/>
                  </a:lnTo>
                  <a:lnTo>
                    <a:pt x="77647" y="117692"/>
                  </a:lnTo>
                  <a:lnTo>
                    <a:pt x="81176" y="114615"/>
                  </a:lnTo>
                  <a:lnTo>
                    <a:pt x="82941" y="112307"/>
                  </a:lnTo>
                  <a:lnTo>
                    <a:pt x="82941" y="109230"/>
                  </a:lnTo>
                  <a:lnTo>
                    <a:pt x="85588" y="100769"/>
                  </a:lnTo>
                  <a:lnTo>
                    <a:pt x="88235" y="98461"/>
                  </a:lnTo>
                  <a:lnTo>
                    <a:pt x="91764" y="100769"/>
                  </a:lnTo>
                  <a:lnTo>
                    <a:pt x="92647" y="100000"/>
                  </a:lnTo>
                  <a:lnTo>
                    <a:pt x="93529" y="92307"/>
                  </a:lnTo>
                  <a:lnTo>
                    <a:pt x="96176" y="89230"/>
                  </a:lnTo>
                  <a:lnTo>
                    <a:pt x="99705" y="84615"/>
                  </a:lnTo>
                  <a:lnTo>
                    <a:pt x="104117" y="84615"/>
                  </a:lnTo>
                  <a:lnTo>
                    <a:pt x="106764" y="81538"/>
                  </a:lnTo>
                  <a:lnTo>
                    <a:pt x="113823" y="76153"/>
                  </a:lnTo>
                  <a:lnTo>
                    <a:pt x="115588" y="72307"/>
                  </a:lnTo>
                  <a:lnTo>
                    <a:pt x="115588" y="70000"/>
                  </a:lnTo>
                  <a:lnTo>
                    <a:pt x="116470" y="63846"/>
                  </a:lnTo>
                  <a:lnTo>
                    <a:pt x="116470" y="59230"/>
                  </a:lnTo>
                  <a:lnTo>
                    <a:pt x="117352" y="56923"/>
                  </a:lnTo>
                  <a:lnTo>
                    <a:pt x="117352" y="53846"/>
                  </a:lnTo>
                  <a:lnTo>
                    <a:pt x="117352" y="47692"/>
                  </a:lnTo>
                  <a:lnTo>
                    <a:pt x="117352" y="46923"/>
                  </a:lnTo>
                  <a:lnTo>
                    <a:pt x="116470" y="44615"/>
                  </a:lnTo>
                  <a:lnTo>
                    <a:pt x="117352" y="42307"/>
                  </a:lnTo>
                  <a:lnTo>
                    <a:pt x="120000" y="42307"/>
                  </a:lnTo>
                  <a:lnTo>
                    <a:pt x="111176" y="0"/>
                  </a:lnTo>
                  <a:lnTo>
                    <a:pt x="106764" y="3846"/>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6" name="Shape 1433">
              <a:extLst>
                <a:ext uri="{FF2B5EF4-FFF2-40B4-BE49-F238E27FC236}">
                  <a16:creationId xmlns:a16="http://schemas.microsoft.com/office/drawing/2014/main" id="{E118062E-153C-E129-0E1C-688A8EB52517}"/>
                </a:ext>
              </a:extLst>
            </p:cNvPr>
            <p:cNvSpPr/>
            <p:nvPr/>
          </p:nvSpPr>
          <p:spPr>
            <a:xfrm>
              <a:off x="7119596" y="2319968"/>
              <a:ext cx="168644" cy="290068"/>
            </a:xfrm>
            <a:custGeom>
              <a:avLst/>
              <a:gdLst/>
              <a:ahLst/>
              <a:cxnLst/>
              <a:rect l="0" t="0" r="0" b="0"/>
              <a:pathLst>
                <a:path w="120000" h="120000" extrusionOk="0">
                  <a:moveTo>
                    <a:pt x="6000" y="120000"/>
                  </a:moveTo>
                  <a:lnTo>
                    <a:pt x="6000" y="116511"/>
                  </a:lnTo>
                  <a:lnTo>
                    <a:pt x="15600" y="116511"/>
                  </a:lnTo>
                  <a:lnTo>
                    <a:pt x="19200" y="113720"/>
                  </a:lnTo>
                  <a:lnTo>
                    <a:pt x="22800" y="113720"/>
                  </a:lnTo>
                  <a:lnTo>
                    <a:pt x="28800" y="113720"/>
                  </a:lnTo>
                  <a:lnTo>
                    <a:pt x="32400" y="115813"/>
                  </a:lnTo>
                  <a:lnTo>
                    <a:pt x="37200" y="117209"/>
                  </a:lnTo>
                  <a:lnTo>
                    <a:pt x="38400" y="116511"/>
                  </a:lnTo>
                  <a:lnTo>
                    <a:pt x="38400" y="113720"/>
                  </a:lnTo>
                  <a:lnTo>
                    <a:pt x="43200" y="113023"/>
                  </a:lnTo>
                  <a:lnTo>
                    <a:pt x="45600" y="112325"/>
                  </a:lnTo>
                  <a:lnTo>
                    <a:pt x="50400" y="112325"/>
                  </a:lnTo>
                  <a:lnTo>
                    <a:pt x="52800" y="113720"/>
                  </a:lnTo>
                  <a:lnTo>
                    <a:pt x="57600" y="114418"/>
                  </a:lnTo>
                  <a:lnTo>
                    <a:pt x="58800" y="112325"/>
                  </a:lnTo>
                  <a:lnTo>
                    <a:pt x="58800" y="109534"/>
                  </a:lnTo>
                  <a:lnTo>
                    <a:pt x="62400" y="107441"/>
                  </a:lnTo>
                  <a:lnTo>
                    <a:pt x="63600" y="104651"/>
                  </a:lnTo>
                  <a:lnTo>
                    <a:pt x="66000" y="104651"/>
                  </a:lnTo>
                  <a:lnTo>
                    <a:pt x="67200" y="107441"/>
                  </a:lnTo>
                  <a:lnTo>
                    <a:pt x="70800" y="109534"/>
                  </a:lnTo>
                  <a:lnTo>
                    <a:pt x="72000" y="110232"/>
                  </a:lnTo>
                  <a:lnTo>
                    <a:pt x="79200" y="109534"/>
                  </a:lnTo>
                  <a:lnTo>
                    <a:pt x="81600" y="106744"/>
                  </a:lnTo>
                  <a:lnTo>
                    <a:pt x="81600" y="104651"/>
                  </a:lnTo>
                  <a:lnTo>
                    <a:pt x="85200" y="101162"/>
                  </a:lnTo>
                  <a:lnTo>
                    <a:pt x="88800" y="101162"/>
                  </a:lnTo>
                  <a:lnTo>
                    <a:pt x="91200" y="99767"/>
                  </a:lnTo>
                  <a:lnTo>
                    <a:pt x="93600" y="96976"/>
                  </a:lnTo>
                  <a:lnTo>
                    <a:pt x="96000" y="94186"/>
                  </a:lnTo>
                  <a:lnTo>
                    <a:pt x="96000" y="91395"/>
                  </a:lnTo>
                  <a:lnTo>
                    <a:pt x="97200" y="90000"/>
                  </a:lnTo>
                  <a:lnTo>
                    <a:pt x="97200" y="88604"/>
                  </a:lnTo>
                  <a:lnTo>
                    <a:pt x="98400" y="87906"/>
                  </a:lnTo>
                  <a:lnTo>
                    <a:pt x="108000" y="87209"/>
                  </a:lnTo>
                  <a:lnTo>
                    <a:pt x="112800" y="85813"/>
                  </a:lnTo>
                  <a:lnTo>
                    <a:pt x="117600" y="85813"/>
                  </a:lnTo>
                  <a:lnTo>
                    <a:pt x="120000" y="84418"/>
                  </a:lnTo>
                  <a:lnTo>
                    <a:pt x="118800" y="80232"/>
                  </a:lnTo>
                  <a:lnTo>
                    <a:pt x="120000" y="78837"/>
                  </a:lnTo>
                  <a:lnTo>
                    <a:pt x="117600" y="78139"/>
                  </a:lnTo>
                  <a:lnTo>
                    <a:pt x="116400" y="75348"/>
                  </a:lnTo>
                  <a:lnTo>
                    <a:pt x="118800" y="74651"/>
                  </a:lnTo>
                  <a:lnTo>
                    <a:pt x="105600" y="697"/>
                  </a:lnTo>
                  <a:lnTo>
                    <a:pt x="105600" y="0"/>
                  </a:lnTo>
                  <a:lnTo>
                    <a:pt x="32400" y="2790"/>
                  </a:lnTo>
                  <a:lnTo>
                    <a:pt x="32400" y="3488"/>
                  </a:lnTo>
                  <a:lnTo>
                    <a:pt x="24000" y="6279"/>
                  </a:lnTo>
                  <a:lnTo>
                    <a:pt x="19200" y="8372"/>
                  </a:lnTo>
                  <a:lnTo>
                    <a:pt x="15600" y="9069"/>
                  </a:lnTo>
                  <a:lnTo>
                    <a:pt x="9600" y="8372"/>
                  </a:lnTo>
                  <a:lnTo>
                    <a:pt x="13200" y="71860"/>
                  </a:lnTo>
                  <a:lnTo>
                    <a:pt x="12000" y="73953"/>
                  </a:lnTo>
                  <a:lnTo>
                    <a:pt x="12000" y="76046"/>
                  </a:lnTo>
                  <a:lnTo>
                    <a:pt x="12000" y="78837"/>
                  </a:lnTo>
                  <a:lnTo>
                    <a:pt x="13200" y="81627"/>
                  </a:lnTo>
                  <a:lnTo>
                    <a:pt x="18000" y="86511"/>
                  </a:lnTo>
                  <a:lnTo>
                    <a:pt x="19200" y="90697"/>
                  </a:lnTo>
                  <a:lnTo>
                    <a:pt x="19200" y="93488"/>
                  </a:lnTo>
                  <a:lnTo>
                    <a:pt x="15600" y="94883"/>
                  </a:lnTo>
                  <a:lnTo>
                    <a:pt x="13200" y="97674"/>
                  </a:lnTo>
                  <a:lnTo>
                    <a:pt x="12000" y="101162"/>
                  </a:lnTo>
                  <a:lnTo>
                    <a:pt x="9600" y="102558"/>
                  </a:lnTo>
                  <a:lnTo>
                    <a:pt x="6000" y="104651"/>
                  </a:lnTo>
                  <a:lnTo>
                    <a:pt x="4800" y="108837"/>
                  </a:lnTo>
                  <a:lnTo>
                    <a:pt x="2400" y="109534"/>
                  </a:lnTo>
                  <a:lnTo>
                    <a:pt x="0" y="112325"/>
                  </a:lnTo>
                  <a:lnTo>
                    <a:pt x="0" y="116511"/>
                  </a:lnTo>
                  <a:lnTo>
                    <a:pt x="1200" y="119302"/>
                  </a:lnTo>
                  <a:lnTo>
                    <a:pt x="2400" y="120000"/>
                  </a:lnTo>
                  <a:lnTo>
                    <a:pt x="2400" y="120000"/>
                  </a:lnTo>
                  <a:lnTo>
                    <a:pt x="6000" y="12000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7" name="Shape 1434">
              <a:extLst>
                <a:ext uri="{FF2B5EF4-FFF2-40B4-BE49-F238E27FC236}">
                  <a16:creationId xmlns:a16="http://schemas.microsoft.com/office/drawing/2014/main" id="{E56A9702-E505-E32E-E394-1C8A80CA6FD7}"/>
                </a:ext>
              </a:extLst>
            </p:cNvPr>
            <p:cNvSpPr/>
            <p:nvPr/>
          </p:nvSpPr>
          <p:spPr>
            <a:xfrm>
              <a:off x="6929028" y="2282866"/>
              <a:ext cx="217551" cy="381136"/>
            </a:xfrm>
            <a:custGeom>
              <a:avLst/>
              <a:gdLst/>
              <a:ahLst/>
              <a:cxnLst/>
              <a:rect l="0" t="0" r="0" b="0"/>
              <a:pathLst>
                <a:path w="120000" h="120000" extrusionOk="0">
                  <a:moveTo>
                    <a:pt x="80000" y="115752"/>
                  </a:moveTo>
                  <a:lnTo>
                    <a:pt x="81860" y="115221"/>
                  </a:lnTo>
                  <a:lnTo>
                    <a:pt x="85581" y="116283"/>
                  </a:lnTo>
                  <a:lnTo>
                    <a:pt x="89302" y="117876"/>
                  </a:lnTo>
                  <a:lnTo>
                    <a:pt x="92093" y="117876"/>
                  </a:lnTo>
                  <a:lnTo>
                    <a:pt x="94883" y="117876"/>
                  </a:lnTo>
                  <a:lnTo>
                    <a:pt x="96744" y="117345"/>
                  </a:lnTo>
                  <a:lnTo>
                    <a:pt x="94883" y="114690"/>
                  </a:lnTo>
                  <a:lnTo>
                    <a:pt x="94883" y="112035"/>
                  </a:lnTo>
                  <a:lnTo>
                    <a:pt x="97674" y="110973"/>
                  </a:lnTo>
                  <a:lnTo>
                    <a:pt x="103255" y="109911"/>
                  </a:lnTo>
                  <a:lnTo>
                    <a:pt x="105116" y="109380"/>
                  </a:lnTo>
                  <a:lnTo>
                    <a:pt x="104186" y="107787"/>
                  </a:lnTo>
                  <a:lnTo>
                    <a:pt x="104186" y="106194"/>
                  </a:lnTo>
                  <a:lnTo>
                    <a:pt x="104186" y="105663"/>
                  </a:lnTo>
                  <a:lnTo>
                    <a:pt x="104186" y="103539"/>
                  </a:lnTo>
                  <a:lnTo>
                    <a:pt x="106976" y="103008"/>
                  </a:lnTo>
                  <a:lnTo>
                    <a:pt x="106976" y="103008"/>
                  </a:lnTo>
                  <a:lnTo>
                    <a:pt x="106046" y="102477"/>
                  </a:lnTo>
                  <a:lnTo>
                    <a:pt x="105116" y="100353"/>
                  </a:lnTo>
                  <a:lnTo>
                    <a:pt x="105116" y="97168"/>
                  </a:lnTo>
                  <a:lnTo>
                    <a:pt x="106976" y="95044"/>
                  </a:lnTo>
                  <a:lnTo>
                    <a:pt x="108837" y="94513"/>
                  </a:lnTo>
                  <a:lnTo>
                    <a:pt x="109767" y="91327"/>
                  </a:lnTo>
                  <a:lnTo>
                    <a:pt x="112558" y="89734"/>
                  </a:lnTo>
                  <a:lnTo>
                    <a:pt x="114418" y="88672"/>
                  </a:lnTo>
                  <a:lnTo>
                    <a:pt x="115348" y="86017"/>
                  </a:lnTo>
                  <a:lnTo>
                    <a:pt x="117209" y="83893"/>
                  </a:lnTo>
                  <a:lnTo>
                    <a:pt x="120000" y="82831"/>
                  </a:lnTo>
                  <a:lnTo>
                    <a:pt x="120000" y="80707"/>
                  </a:lnTo>
                  <a:lnTo>
                    <a:pt x="119069" y="77522"/>
                  </a:lnTo>
                  <a:lnTo>
                    <a:pt x="115348" y="73805"/>
                  </a:lnTo>
                  <a:lnTo>
                    <a:pt x="114418" y="71681"/>
                  </a:lnTo>
                  <a:lnTo>
                    <a:pt x="114418" y="69557"/>
                  </a:lnTo>
                  <a:lnTo>
                    <a:pt x="114418" y="67964"/>
                  </a:lnTo>
                  <a:lnTo>
                    <a:pt x="115348" y="66371"/>
                  </a:lnTo>
                  <a:lnTo>
                    <a:pt x="112558" y="18053"/>
                  </a:lnTo>
                  <a:lnTo>
                    <a:pt x="113488" y="18053"/>
                  </a:lnTo>
                  <a:lnTo>
                    <a:pt x="109767" y="16460"/>
                  </a:lnTo>
                  <a:lnTo>
                    <a:pt x="107906" y="13805"/>
                  </a:lnTo>
                  <a:lnTo>
                    <a:pt x="106046" y="12212"/>
                  </a:lnTo>
                  <a:lnTo>
                    <a:pt x="105116" y="9026"/>
                  </a:lnTo>
                  <a:lnTo>
                    <a:pt x="101395" y="6902"/>
                  </a:lnTo>
                  <a:lnTo>
                    <a:pt x="99534" y="1592"/>
                  </a:lnTo>
                  <a:lnTo>
                    <a:pt x="99534" y="0"/>
                  </a:lnTo>
                  <a:lnTo>
                    <a:pt x="22325" y="2654"/>
                  </a:lnTo>
                  <a:lnTo>
                    <a:pt x="20465" y="1592"/>
                  </a:lnTo>
                  <a:lnTo>
                    <a:pt x="20465" y="1592"/>
                  </a:lnTo>
                  <a:lnTo>
                    <a:pt x="19534" y="3185"/>
                  </a:lnTo>
                  <a:lnTo>
                    <a:pt x="19534" y="4247"/>
                  </a:lnTo>
                  <a:lnTo>
                    <a:pt x="22325" y="5840"/>
                  </a:lnTo>
                  <a:lnTo>
                    <a:pt x="26046" y="7433"/>
                  </a:lnTo>
                  <a:lnTo>
                    <a:pt x="30697" y="9557"/>
                  </a:lnTo>
                  <a:lnTo>
                    <a:pt x="35348" y="12212"/>
                  </a:lnTo>
                  <a:lnTo>
                    <a:pt x="35348" y="13805"/>
                  </a:lnTo>
                  <a:lnTo>
                    <a:pt x="33488" y="16991"/>
                  </a:lnTo>
                  <a:lnTo>
                    <a:pt x="31627" y="18584"/>
                  </a:lnTo>
                  <a:lnTo>
                    <a:pt x="28837" y="22831"/>
                  </a:lnTo>
                  <a:lnTo>
                    <a:pt x="26976" y="23893"/>
                  </a:lnTo>
                  <a:lnTo>
                    <a:pt x="25116" y="24955"/>
                  </a:lnTo>
                  <a:lnTo>
                    <a:pt x="19534" y="26548"/>
                  </a:lnTo>
                  <a:lnTo>
                    <a:pt x="13953" y="26548"/>
                  </a:lnTo>
                  <a:lnTo>
                    <a:pt x="11162" y="27079"/>
                  </a:lnTo>
                  <a:lnTo>
                    <a:pt x="11162" y="29203"/>
                  </a:lnTo>
                  <a:lnTo>
                    <a:pt x="11162" y="30796"/>
                  </a:lnTo>
                  <a:lnTo>
                    <a:pt x="13953" y="34513"/>
                  </a:lnTo>
                  <a:lnTo>
                    <a:pt x="15813" y="35575"/>
                  </a:lnTo>
                  <a:lnTo>
                    <a:pt x="12093" y="37168"/>
                  </a:lnTo>
                  <a:lnTo>
                    <a:pt x="12093" y="40884"/>
                  </a:lnTo>
                  <a:lnTo>
                    <a:pt x="10232" y="40884"/>
                  </a:lnTo>
                  <a:lnTo>
                    <a:pt x="7441" y="42477"/>
                  </a:lnTo>
                  <a:lnTo>
                    <a:pt x="1860" y="45663"/>
                  </a:lnTo>
                  <a:lnTo>
                    <a:pt x="2790" y="48849"/>
                  </a:lnTo>
                  <a:lnTo>
                    <a:pt x="0" y="50442"/>
                  </a:lnTo>
                  <a:lnTo>
                    <a:pt x="0" y="55221"/>
                  </a:lnTo>
                  <a:lnTo>
                    <a:pt x="0" y="60000"/>
                  </a:lnTo>
                  <a:lnTo>
                    <a:pt x="5581" y="65309"/>
                  </a:lnTo>
                  <a:lnTo>
                    <a:pt x="19534" y="72212"/>
                  </a:lnTo>
                  <a:lnTo>
                    <a:pt x="23255" y="75398"/>
                  </a:lnTo>
                  <a:lnTo>
                    <a:pt x="23255" y="79646"/>
                  </a:lnTo>
                  <a:lnTo>
                    <a:pt x="27906" y="81769"/>
                  </a:lnTo>
                  <a:lnTo>
                    <a:pt x="28837" y="80176"/>
                  </a:lnTo>
                  <a:lnTo>
                    <a:pt x="31627" y="79646"/>
                  </a:lnTo>
                  <a:lnTo>
                    <a:pt x="36279" y="79646"/>
                  </a:lnTo>
                  <a:lnTo>
                    <a:pt x="39069" y="81238"/>
                  </a:lnTo>
                  <a:lnTo>
                    <a:pt x="41860" y="82831"/>
                  </a:lnTo>
                  <a:lnTo>
                    <a:pt x="39069" y="86017"/>
                  </a:lnTo>
                  <a:lnTo>
                    <a:pt x="38139" y="88672"/>
                  </a:lnTo>
                  <a:lnTo>
                    <a:pt x="38139" y="90265"/>
                  </a:lnTo>
                  <a:lnTo>
                    <a:pt x="36279" y="92920"/>
                  </a:lnTo>
                  <a:lnTo>
                    <a:pt x="36279" y="95575"/>
                  </a:lnTo>
                  <a:lnTo>
                    <a:pt x="40930" y="98230"/>
                  </a:lnTo>
                  <a:lnTo>
                    <a:pt x="47441" y="100884"/>
                  </a:lnTo>
                  <a:lnTo>
                    <a:pt x="49302" y="100353"/>
                  </a:lnTo>
                  <a:lnTo>
                    <a:pt x="59534" y="104070"/>
                  </a:lnTo>
                  <a:lnTo>
                    <a:pt x="63255" y="106194"/>
                  </a:lnTo>
                  <a:lnTo>
                    <a:pt x="66046" y="110973"/>
                  </a:lnTo>
                  <a:lnTo>
                    <a:pt x="65116" y="113628"/>
                  </a:lnTo>
                  <a:lnTo>
                    <a:pt x="64186" y="115221"/>
                  </a:lnTo>
                  <a:lnTo>
                    <a:pt x="68837" y="117876"/>
                  </a:lnTo>
                  <a:lnTo>
                    <a:pt x="68837" y="120000"/>
                  </a:lnTo>
                  <a:lnTo>
                    <a:pt x="70697" y="117876"/>
                  </a:lnTo>
                  <a:lnTo>
                    <a:pt x="74418" y="117876"/>
                  </a:lnTo>
                  <a:lnTo>
                    <a:pt x="77209" y="117345"/>
                  </a:lnTo>
                  <a:lnTo>
                    <a:pt x="80000" y="115752"/>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8" name="Shape 1435">
              <a:extLst>
                <a:ext uri="{FF2B5EF4-FFF2-40B4-BE49-F238E27FC236}">
                  <a16:creationId xmlns:a16="http://schemas.microsoft.com/office/drawing/2014/main" id="{2730ACCE-EF55-E123-9F87-440BA1A66895}"/>
                </a:ext>
              </a:extLst>
            </p:cNvPr>
            <p:cNvSpPr/>
            <p:nvPr/>
          </p:nvSpPr>
          <p:spPr>
            <a:xfrm>
              <a:off x="6662570" y="2198543"/>
              <a:ext cx="330542" cy="242848"/>
            </a:xfrm>
            <a:custGeom>
              <a:avLst/>
              <a:gdLst/>
              <a:ahLst/>
              <a:cxnLst/>
              <a:rect l="0" t="0" r="0" b="0"/>
              <a:pathLst>
                <a:path w="120000" h="120000" extrusionOk="0">
                  <a:moveTo>
                    <a:pt x="98181" y="113647"/>
                  </a:moveTo>
                  <a:cubicBezTo>
                    <a:pt x="101818" y="108705"/>
                    <a:pt x="101818" y="108705"/>
                    <a:pt x="101818" y="108705"/>
                  </a:cubicBezTo>
                  <a:cubicBezTo>
                    <a:pt x="103376" y="105882"/>
                    <a:pt x="103376" y="105882"/>
                    <a:pt x="103376" y="105882"/>
                  </a:cubicBezTo>
                  <a:cubicBezTo>
                    <a:pt x="104415" y="105882"/>
                    <a:pt x="104415" y="105882"/>
                    <a:pt x="104415" y="105882"/>
                  </a:cubicBezTo>
                  <a:cubicBezTo>
                    <a:pt x="104935" y="100235"/>
                    <a:pt x="104935" y="100235"/>
                    <a:pt x="104935" y="100235"/>
                  </a:cubicBezTo>
                  <a:cubicBezTo>
                    <a:pt x="107012" y="98117"/>
                    <a:pt x="107012" y="98117"/>
                    <a:pt x="107012" y="98117"/>
                  </a:cubicBezTo>
                  <a:cubicBezTo>
                    <a:pt x="105974" y="96000"/>
                    <a:pt x="105974" y="96000"/>
                    <a:pt x="105974" y="96000"/>
                  </a:cubicBezTo>
                  <a:cubicBezTo>
                    <a:pt x="103896" y="90352"/>
                    <a:pt x="103896" y="90352"/>
                    <a:pt x="103896" y="90352"/>
                  </a:cubicBezTo>
                  <a:cubicBezTo>
                    <a:pt x="103896" y="87529"/>
                    <a:pt x="103896" y="87529"/>
                    <a:pt x="103896" y="87529"/>
                  </a:cubicBezTo>
                  <a:cubicBezTo>
                    <a:pt x="103896" y="84705"/>
                    <a:pt x="103896" y="84705"/>
                    <a:pt x="103896" y="84705"/>
                  </a:cubicBezTo>
                  <a:cubicBezTo>
                    <a:pt x="105974" y="83294"/>
                    <a:pt x="105974" y="83294"/>
                    <a:pt x="105974" y="83294"/>
                  </a:cubicBezTo>
                  <a:cubicBezTo>
                    <a:pt x="109610" y="83294"/>
                    <a:pt x="109610" y="83294"/>
                    <a:pt x="109610" y="83294"/>
                  </a:cubicBezTo>
                  <a:cubicBezTo>
                    <a:pt x="113246" y="81176"/>
                    <a:pt x="113246" y="81176"/>
                    <a:pt x="113246" y="81176"/>
                  </a:cubicBezTo>
                  <a:cubicBezTo>
                    <a:pt x="114285" y="79764"/>
                    <a:pt x="114285" y="79764"/>
                    <a:pt x="114285" y="79764"/>
                  </a:cubicBezTo>
                  <a:cubicBezTo>
                    <a:pt x="115844" y="77647"/>
                    <a:pt x="115844" y="77647"/>
                    <a:pt x="115844" y="77647"/>
                  </a:cubicBezTo>
                  <a:cubicBezTo>
                    <a:pt x="117402" y="71294"/>
                    <a:pt x="117402" y="71294"/>
                    <a:pt x="117402" y="71294"/>
                  </a:cubicBezTo>
                  <a:cubicBezTo>
                    <a:pt x="118961" y="68470"/>
                    <a:pt x="118961" y="68470"/>
                    <a:pt x="118961" y="68470"/>
                  </a:cubicBezTo>
                  <a:cubicBezTo>
                    <a:pt x="119999" y="63529"/>
                    <a:pt x="119999" y="63529"/>
                    <a:pt x="119999" y="63529"/>
                  </a:cubicBezTo>
                  <a:cubicBezTo>
                    <a:pt x="119999" y="61411"/>
                    <a:pt x="119999" y="61411"/>
                    <a:pt x="119999" y="61411"/>
                  </a:cubicBezTo>
                  <a:cubicBezTo>
                    <a:pt x="116883" y="57176"/>
                    <a:pt x="116883" y="57176"/>
                    <a:pt x="116883" y="57176"/>
                  </a:cubicBezTo>
                  <a:cubicBezTo>
                    <a:pt x="113766" y="53647"/>
                    <a:pt x="113766" y="53647"/>
                    <a:pt x="113766" y="53647"/>
                  </a:cubicBezTo>
                  <a:cubicBezTo>
                    <a:pt x="111688" y="50823"/>
                    <a:pt x="111688" y="50823"/>
                    <a:pt x="111688" y="50823"/>
                  </a:cubicBezTo>
                  <a:cubicBezTo>
                    <a:pt x="109610" y="48705"/>
                    <a:pt x="109610" y="48705"/>
                    <a:pt x="109610" y="48705"/>
                  </a:cubicBezTo>
                  <a:cubicBezTo>
                    <a:pt x="109610" y="46588"/>
                    <a:pt x="109610" y="46588"/>
                    <a:pt x="109610" y="46588"/>
                  </a:cubicBezTo>
                  <a:cubicBezTo>
                    <a:pt x="110129" y="44470"/>
                    <a:pt x="110129" y="44470"/>
                    <a:pt x="110129" y="44470"/>
                  </a:cubicBezTo>
                  <a:cubicBezTo>
                    <a:pt x="111168" y="45882"/>
                    <a:pt x="111168" y="45882"/>
                    <a:pt x="111168" y="45882"/>
                  </a:cubicBezTo>
                  <a:cubicBezTo>
                    <a:pt x="109610" y="43058"/>
                    <a:pt x="109610" y="43058"/>
                    <a:pt x="109610" y="43058"/>
                  </a:cubicBezTo>
                  <a:cubicBezTo>
                    <a:pt x="109610" y="43058"/>
                    <a:pt x="107532" y="41647"/>
                    <a:pt x="107012" y="41647"/>
                  </a:cubicBezTo>
                  <a:cubicBezTo>
                    <a:pt x="106493" y="41647"/>
                    <a:pt x="104415" y="38823"/>
                    <a:pt x="104415" y="38823"/>
                  </a:cubicBezTo>
                  <a:cubicBezTo>
                    <a:pt x="101818" y="38823"/>
                    <a:pt x="101818" y="38823"/>
                    <a:pt x="101818" y="38823"/>
                  </a:cubicBezTo>
                  <a:cubicBezTo>
                    <a:pt x="101818" y="35294"/>
                    <a:pt x="101818" y="35294"/>
                    <a:pt x="101818" y="35294"/>
                  </a:cubicBezTo>
                  <a:cubicBezTo>
                    <a:pt x="100779" y="31764"/>
                    <a:pt x="100779" y="31764"/>
                    <a:pt x="100779" y="31764"/>
                  </a:cubicBezTo>
                  <a:cubicBezTo>
                    <a:pt x="100779" y="27529"/>
                    <a:pt x="100779" y="27529"/>
                    <a:pt x="100779" y="27529"/>
                  </a:cubicBezTo>
                  <a:cubicBezTo>
                    <a:pt x="100779" y="24705"/>
                    <a:pt x="100779" y="24705"/>
                    <a:pt x="100779" y="24705"/>
                  </a:cubicBezTo>
                  <a:cubicBezTo>
                    <a:pt x="100779" y="19764"/>
                    <a:pt x="100779" y="19764"/>
                    <a:pt x="100779" y="19764"/>
                  </a:cubicBezTo>
                  <a:cubicBezTo>
                    <a:pt x="99740" y="17647"/>
                    <a:pt x="99740" y="17647"/>
                    <a:pt x="99740" y="17647"/>
                  </a:cubicBezTo>
                  <a:cubicBezTo>
                    <a:pt x="98181" y="12705"/>
                    <a:pt x="98181" y="12705"/>
                    <a:pt x="98181" y="12705"/>
                  </a:cubicBezTo>
                  <a:cubicBezTo>
                    <a:pt x="3636" y="15529"/>
                    <a:pt x="3636" y="15529"/>
                    <a:pt x="3636" y="15529"/>
                  </a:cubicBezTo>
                  <a:cubicBezTo>
                    <a:pt x="4155" y="0"/>
                    <a:pt x="4155" y="0"/>
                    <a:pt x="4155" y="0"/>
                  </a:cubicBezTo>
                  <a:cubicBezTo>
                    <a:pt x="4155" y="0"/>
                    <a:pt x="4155" y="0"/>
                    <a:pt x="4155" y="0"/>
                  </a:cubicBezTo>
                  <a:cubicBezTo>
                    <a:pt x="3636" y="16235"/>
                    <a:pt x="3636" y="16235"/>
                    <a:pt x="3636" y="16235"/>
                  </a:cubicBezTo>
                  <a:cubicBezTo>
                    <a:pt x="2077" y="16235"/>
                    <a:pt x="2077" y="16235"/>
                    <a:pt x="2077" y="16235"/>
                  </a:cubicBezTo>
                  <a:cubicBezTo>
                    <a:pt x="2077" y="18352"/>
                    <a:pt x="2077" y="18352"/>
                    <a:pt x="2077" y="18352"/>
                  </a:cubicBezTo>
                  <a:cubicBezTo>
                    <a:pt x="1558" y="21882"/>
                    <a:pt x="1558" y="21882"/>
                    <a:pt x="1558" y="21882"/>
                  </a:cubicBezTo>
                  <a:cubicBezTo>
                    <a:pt x="2597" y="22588"/>
                    <a:pt x="2597" y="22588"/>
                    <a:pt x="2597" y="22588"/>
                  </a:cubicBezTo>
                  <a:cubicBezTo>
                    <a:pt x="3636" y="26117"/>
                    <a:pt x="3636" y="26117"/>
                    <a:pt x="3636" y="26117"/>
                  </a:cubicBezTo>
                  <a:cubicBezTo>
                    <a:pt x="3636" y="28941"/>
                    <a:pt x="3636" y="28941"/>
                    <a:pt x="3636" y="28941"/>
                  </a:cubicBezTo>
                  <a:cubicBezTo>
                    <a:pt x="2597" y="29647"/>
                    <a:pt x="2597" y="29647"/>
                    <a:pt x="2597" y="29647"/>
                  </a:cubicBezTo>
                  <a:cubicBezTo>
                    <a:pt x="2077" y="31764"/>
                    <a:pt x="2077" y="31764"/>
                    <a:pt x="2077" y="31764"/>
                  </a:cubicBezTo>
                  <a:cubicBezTo>
                    <a:pt x="2077" y="36705"/>
                    <a:pt x="2077" y="36705"/>
                    <a:pt x="2077" y="36705"/>
                  </a:cubicBezTo>
                  <a:cubicBezTo>
                    <a:pt x="519" y="37411"/>
                    <a:pt x="519" y="37411"/>
                    <a:pt x="519" y="37411"/>
                  </a:cubicBezTo>
                  <a:cubicBezTo>
                    <a:pt x="0" y="39529"/>
                    <a:pt x="0" y="39529"/>
                    <a:pt x="0" y="39529"/>
                  </a:cubicBezTo>
                  <a:cubicBezTo>
                    <a:pt x="0" y="41647"/>
                    <a:pt x="0" y="41647"/>
                    <a:pt x="0" y="41647"/>
                  </a:cubicBezTo>
                  <a:cubicBezTo>
                    <a:pt x="2077" y="43764"/>
                    <a:pt x="2077" y="43764"/>
                    <a:pt x="2077" y="43764"/>
                  </a:cubicBezTo>
                  <a:cubicBezTo>
                    <a:pt x="2077" y="46588"/>
                    <a:pt x="2077" y="46588"/>
                    <a:pt x="2077" y="46588"/>
                  </a:cubicBezTo>
                  <a:cubicBezTo>
                    <a:pt x="2077" y="48705"/>
                    <a:pt x="2077" y="48705"/>
                    <a:pt x="2077" y="48705"/>
                  </a:cubicBezTo>
                  <a:cubicBezTo>
                    <a:pt x="1558" y="47294"/>
                    <a:pt x="1558" y="47294"/>
                    <a:pt x="1558" y="47294"/>
                  </a:cubicBezTo>
                  <a:cubicBezTo>
                    <a:pt x="3116" y="50117"/>
                    <a:pt x="3116" y="50117"/>
                    <a:pt x="3116" y="50117"/>
                  </a:cubicBezTo>
                  <a:cubicBezTo>
                    <a:pt x="4675" y="56470"/>
                    <a:pt x="4675" y="56470"/>
                    <a:pt x="4675" y="56470"/>
                  </a:cubicBezTo>
                  <a:cubicBezTo>
                    <a:pt x="6233" y="60000"/>
                    <a:pt x="6233" y="60000"/>
                    <a:pt x="6233" y="60000"/>
                  </a:cubicBezTo>
                  <a:cubicBezTo>
                    <a:pt x="7272" y="64235"/>
                    <a:pt x="7272" y="64235"/>
                    <a:pt x="7272" y="64235"/>
                  </a:cubicBezTo>
                  <a:cubicBezTo>
                    <a:pt x="8311" y="67764"/>
                    <a:pt x="8311" y="67764"/>
                    <a:pt x="8311" y="67764"/>
                  </a:cubicBezTo>
                  <a:cubicBezTo>
                    <a:pt x="9350" y="69882"/>
                    <a:pt x="9350" y="69882"/>
                    <a:pt x="9350" y="69882"/>
                  </a:cubicBezTo>
                  <a:cubicBezTo>
                    <a:pt x="9870" y="72000"/>
                    <a:pt x="9870" y="72000"/>
                    <a:pt x="9870" y="72000"/>
                  </a:cubicBezTo>
                  <a:cubicBezTo>
                    <a:pt x="10389" y="72705"/>
                    <a:pt x="10389" y="72705"/>
                    <a:pt x="10389" y="72705"/>
                  </a:cubicBezTo>
                  <a:cubicBezTo>
                    <a:pt x="10389" y="73411"/>
                    <a:pt x="10389" y="73411"/>
                    <a:pt x="10389" y="73411"/>
                  </a:cubicBezTo>
                  <a:cubicBezTo>
                    <a:pt x="8831" y="74117"/>
                    <a:pt x="8831" y="74117"/>
                    <a:pt x="8831" y="74117"/>
                  </a:cubicBezTo>
                  <a:cubicBezTo>
                    <a:pt x="9350" y="76941"/>
                    <a:pt x="9350" y="76941"/>
                    <a:pt x="9350" y="76941"/>
                  </a:cubicBezTo>
                  <a:cubicBezTo>
                    <a:pt x="9870" y="80470"/>
                    <a:pt x="9870" y="80470"/>
                    <a:pt x="9870" y="80470"/>
                  </a:cubicBezTo>
                  <a:cubicBezTo>
                    <a:pt x="10389" y="81882"/>
                    <a:pt x="10389" y="81882"/>
                    <a:pt x="10389" y="81882"/>
                  </a:cubicBezTo>
                  <a:cubicBezTo>
                    <a:pt x="11428" y="81882"/>
                    <a:pt x="11428" y="81882"/>
                    <a:pt x="11428" y="81882"/>
                  </a:cubicBezTo>
                  <a:cubicBezTo>
                    <a:pt x="12467" y="83294"/>
                    <a:pt x="12467" y="83294"/>
                    <a:pt x="12467" y="83294"/>
                  </a:cubicBezTo>
                  <a:cubicBezTo>
                    <a:pt x="13506" y="88235"/>
                    <a:pt x="13506" y="88235"/>
                    <a:pt x="13506" y="88235"/>
                  </a:cubicBezTo>
                  <a:cubicBezTo>
                    <a:pt x="13506" y="95294"/>
                    <a:pt x="13506" y="95294"/>
                    <a:pt x="13506" y="95294"/>
                  </a:cubicBezTo>
                  <a:cubicBezTo>
                    <a:pt x="12987" y="98117"/>
                    <a:pt x="12987" y="98117"/>
                    <a:pt x="12987" y="98117"/>
                  </a:cubicBezTo>
                  <a:cubicBezTo>
                    <a:pt x="14025" y="100235"/>
                    <a:pt x="14025" y="100235"/>
                    <a:pt x="14025" y="100235"/>
                  </a:cubicBezTo>
                  <a:cubicBezTo>
                    <a:pt x="14545" y="101647"/>
                    <a:pt x="14545" y="101647"/>
                    <a:pt x="14545" y="101647"/>
                  </a:cubicBezTo>
                  <a:cubicBezTo>
                    <a:pt x="14545" y="108705"/>
                    <a:pt x="14545" y="108705"/>
                    <a:pt x="14545" y="108705"/>
                  </a:cubicBezTo>
                  <a:cubicBezTo>
                    <a:pt x="15584" y="113647"/>
                    <a:pt x="15584" y="113647"/>
                    <a:pt x="15584" y="113647"/>
                  </a:cubicBezTo>
                  <a:cubicBezTo>
                    <a:pt x="15584" y="114352"/>
                    <a:pt x="15584" y="114352"/>
                    <a:pt x="15584" y="114352"/>
                  </a:cubicBezTo>
                  <a:cubicBezTo>
                    <a:pt x="91428" y="112941"/>
                    <a:pt x="91428" y="112941"/>
                    <a:pt x="91428" y="112941"/>
                  </a:cubicBezTo>
                  <a:cubicBezTo>
                    <a:pt x="97662" y="120000"/>
                    <a:pt x="97662" y="120000"/>
                    <a:pt x="97662" y="120000"/>
                  </a:cubicBezTo>
                  <a:cubicBezTo>
                    <a:pt x="98701" y="118588"/>
                    <a:pt x="98701" y="118588"/>
                    <a:pt x="98701" y="118588"/>
                  </a:cubicBezTo>
                  <a:lnTo>
                    <a:pt x="98181" y="113647"/>
                  </a:ln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59" name="Shape 1436">
              <a:extLst>
                <a:ext uri="{FF2B5EF4-FFF2-40B4-BE49-F238E27FC236}">
                  <a16:creationId xmlns:a16="http://schemas.microsoft.com/office/drawing/2014/main" id="{E0D01BCC-A35E-1283-6B34-2A391DDE9B36}"/>
                </a:ext>
              </a:extLst>
            </p:cNvPr>
            <p:cNvSpPr/>
            <p:nvPr/>
          </p:nvSpPr>
          <p:spPr>
            <a:xfrm>
              <a:off x="5157992" y="3013096"/>
              <a:ext cx="735560" cy="571704"/>
            </a:xfrm>
            <a:custGeom>
              <a:avLst/>
              <a:gdLst/>
              <a:ahLst/>
              <a:cxnLst/>
              <a:rect l="0" t="0" r="0" b="0"/>
              <a:pathLst>
                <a:path w="120000" h="120000" extrusionOk="0">
                  <a:moveTo>
                    <a:pt x="47091" y="96637"/>
                  </a:moveTo>
                  <a:lnTo>
                    <a:pt x="47916" y="97699"/>
                  </a:lnTo>
                  <a:lnTo>
                    <a:pt x="49567" y="99115"/>
                  </a:lnTo>
                  <a:lnTo>
                    <a:pt x="48466" y="99469"/>
                  </a:lnTo>
                  <a:lnTo>
                    <a:pt x="47916" y="99469"/>
                  </a:lnTo>
                  <a:lnTo>
                    <a:pt x="46816" y="100531"/>
                  </a:lnTo>
                  <a:lnTo>
                    <a:pt x="46816" y="100884"/>
                  </a:lnTo>
                  <a:lnTo>
                    <a:pt x="46816" y="101946"/>
                  </a:lnTo>
                  <a:lnTo>
                    <a:pt x="47366" y="101946"/>
                  </a:lnTo>
                  <a:lnTo>
                    <a:pt x="48466" y="103716"/>
                  </a:lnTo>
                  <a:lnTo>
                    <a:pt x="48466" y="104424"/>
                  </a:lnTo>
                  <a:lnTo>
                    <a:pt x="47641" y="104778"/>
                  </a:lnTo>
                  <a:lnTo>
                    <a:pt x="47091" y="104778"/>
                  </a:lnTo>
                  <a:lnTo>
                    <a:pt x="46540" y="105132"/>
                  </a:lnTo>
                  <a:lnTo>
                    <a:pt x="46265" y="105132"/>
                  </a:lnTo>
                  <a:lnTo>
                    <a:pt x="45440" y="105840"/>
                  </a:lnTo>
                  <a:lnTo>
                    <a:pt x="45440" y="106902"/>
                  </a:lnTo>
                  <a:lnTo>
                    <a:pt x="45440" y="107256"/>
                  </a:lnTo>
                  <a:lnTo>
                    <a:pt x="44890" y="108318"/>
                  </a:lnTo>
                  <a:lnTo>
                    <a:pt x="44064" y="106548"/>
                  </a:lnTo>
                  <a:lnTo>
                    <a:pt x="44064" y="106902"/>
                  </a:lnTo>
                  <a:lnTo>
                    <a:pt x="43789" y="107610"/>
                  </a:lnTo>
                  <a:lnTo>
                    <a:pt x="42964" y="108672"/>
                  </a:lnTo>
                  <a:lnTo>
                    <a:pt x="42413" y="110088"/>
                  </a:lnTo>
                  <a:lnTo>
                    <a:pt x="42413" y="110442"/>
                  </a:lnTo>
                  <a:lnTo>
                    <a:pt x="42413" y="111858"/>
                  </a:lnTo>
                  <a:lnTo>
                    <a:pt x="39937" y="111858"/>
                  </a:lnTo>
                  <a:lnTo>
                    <a:pt x="41863" y="111150"/>
                  </a:lnTo>
                  <a:lnTo>
                    <a:pt x="42138" y="110442"/>
                  </a:lnTo>
                  <a:lnTo>
                    <a:pt x="42413" y="109734"/>
                  </a:lnTo>
                  <a:lnTo>
                    <a:pt x="42138" y="108672"/>
                  </a:lnTo>
                  <a:lnTo>
                    <a:pt x="41588" y="108318"/>
                  </a:lnTo>
                  <a:lnTo>
                    <a:pt x="41313" y="108318"/>
                  </a:lnTo>
                  <a:lnTo>
                    <a:pt x="40763" y="107610"/>
                  </a:lnTo>
                  <a:lnTo>
                    <a:pt x="40763" y="107256"/>
                  </a:lnTo>
                  <a:lnTo>
                    <a:pt x="40488" y="105132"/>
                  </a:lnTo>
                  <a:lnTo>
                    <a:pt x="41038" y="104424"/>
                  </a:lnTo>
                  <a:lnTo>
                    <a:pt x="41313" y="103716"/>
                  </a:lnTo>
                  <a:lnTo>
                    <a:pt x="42138" y="103008"/>
                  </a:lnTo>
                  <a:lnTo>
                    <a:pt x="42413" y="103362"/>
                  </a:lnTo>
                  <a:lnTo>
                    <a:pt x="43239" y="104424"/>
                  </a:lnTo>
                  <a:lnTo>
                    <a:pt x="43789" y="105840"/>
                  </a:lnTo>
                  <a:lnTo>
                    <a:pt x="43789" y="104424"/>
                  </a:lnTo>
                  <a:lnTo>
                    <a:pt x="43514" y="103008"/>
                  </a:lnTo>
                  <a:lnTo>
                    <a:pt x="42964" y="101946"/>
                  </a:lnTo>
                  <a:lnTo>
                    <a:pt x="43789" y="101592"/>
                  </a:lnTo>
                  <a:lnTo>
                    <a:pt x="44890" y="102300"/>
                  </a:lnTo>
                  <a:lnTo>
                    <a:pt x="45440" y="102300"/>
                  </a:lnTo>
                  <a:lnTo>
                    <a:pt x="45440" y="101592"/>
                  </a:lnTo>
                  <a:lnTo>
                    <a:pt x="45440" y="101238"/>
                  </a:lnTo>
                  <a:lnTo>
                    <a:pt x="45440" y="100531"/>
                  </a:lnTo>
                  <a:lnTo>
                    <a:pt x="45440" y="99469"/>
                  </a:lnTo>
                  <a:lnTo>
                    <a:pt x="45165" y="98761"/>
                  </a:lnTo>
                  <a:lnTo>
                    <a:pt x="46265" y="97699"/>
                  </a:lnTo>
                  <a:close/>
                  <a:moveTo>
                    <a:pt x="8573" y="75044"/>
                  </a:moveTo>
                  <a:lnTo>
                    <a:pt x="9123" y="75044"/>
                  </a:lnTo>
                  <a:lnTo>
                    <a:pt x="9948" y="77168"/>
                  </a:lnTo>
                  <a:lnTo>
                    <a:pt x="9948" y="78230"/>
                  </a:lnTo>
                  <a:lnTo>
                    <a:pt x="9398" y="79291"/>
                  </a:lnTo>
                  <a:lnTo>
                    <a:pt x="8848" y="79291"/>
                  </a:lnTo>
                  <a:lnTo>
                    <a:pt x="8022" y="79291"/>
                  </a:lnTo>
                  <a:lnTo>
                    <a:pt x="6922" y="78230"/>
                  </a:lnTo>
                  <a:lnTo>
                    <a:pt x="5546" y="76814"/>
                  </a:lnTo>
                  <a:lnTo>
                    <a:pt x="6922" y="75752"/>
                  </a:lnTo>
                  <a:lnTo>
                    <a:pt x="7747" y="75752"/>
                  </a:lnTo>
                  <a:close/>
                  <a:moveTo>
                    <a:pt x="692" y="44955"/>
                  </a:moveTo>
                  <a:cubicBezTo>
                    <a:pt x="692" y="44955"/>
                    <a:pt x="692" y="44955"/>
                    <a:pt x="922" y="46162"/>
                  </a:cubicBezTo>
                  <a:cubicBezTo>
                    <a:pt x="922" y="46162"/>
                    <a:pt x="922" y="46162"/>
                    <a:pt x="1384" y="46765"/>
                  </a:cubicBezTo>
                  <a:cubicBezTo>
                    <a:pt x="1384" y="46765"/>
                    <a:pt x="1384" y="46765"/>
                    <a:pt x="2538" y="47066"/>
                  </a:cubicBezTo>
                  <a:cubicBezTo>
                    <a:pt x="2538" y="47066"/>
                    <a:pt x="2538" y="47066"/>
                    <a:pt x="3691" y="47066"/>
                  </a:cubicBezTo>
                  <a:cubicBezTo>
                    <a:pt x="3691" y="47066"/>
                    <a:pt x="3691" y="47066"/>
                    <a:pt x="4384" y="47669"/>
                  </a:cubicBezTo>
                  <a:cubicBezTo>
                    <a:pt x="4384" y="47669"/>
                    <a:pt x="4384" y="47669"/>
                    <a:pt x="4384" y="48574"/>
                  </a:cubicBezTo>
                  <a:cubicBezTo>
                    <a:pt x="4384" y="48574"/>
                    <a:pt x="4384" y="48574"/>
                    <a:pt x="4845" y="49177"/>
                  </a:cubicBezTo>
                  <a:cubicBezTo>
                    <a:pt x="4845" y="49177"/>
                    <a:pt x="4845" y="49177"/>
                    <a:pt x="5768" y="50383"/>
                  </a:cubicBezTo>
                  <a:cubicBezTo>
                    <a:pt x="5768" y="50383"/>
                    <a:pt x="5768" y="50383"/>
                    <a:pt x="6922" y="52494"/>
                  </a:cubicBezTo>
                  <a:cubicBezTo>
                    <a:pt x="6922" y="52494"/>
                    <a:pt x="6922" y="52494"/>
                    <a:pt x="6230" y="52494"/>
                  </a:cubicBezTo>
                  <a:cubicBezTo>
                    <a:pt x="6230" y="52494"/>
                    <a:pt x="6230" y="52494"/>
                    <a:pt x="4845" y="52494"/>
                  </a:cubicBezTo>
                  <a:lnTo>
                    <a:pt x="4614" y="53097"/>
                  </a:lnTo>
                  <a:cubicBezTo>
                    <a:pt x="4614" y="53097"/>
                    <a:pt x="4614" y="53097"/>
                    <a:pt x="3691" y="51891"/>
                  </a:cubicBezTo>
                  <a:cubicBezTo>
                    <a:pt x="3691" y="51891"/>
                    <a:pt x="3691" y="51891"/>
                    <a:pt x="3230" y="50082"/>
                  </a:cubicBezTo>
                  <a:cubicBezTo>
                    <a:pt x="3230" y="50082"/>
                    <a:pt x="3230" y="50082"/>
                    <a:pt x="2999" y="49479"/>
                  </a:cubicBezTo>
                  <a:cubicBezTo>
                    <a:pt x="2999" y="49479"/>
                    <a:pt x="2999" y="49479"/>
                    <a:pt x="2538" y="48875"/>
                  </a:cubicBezTo>
                  <a:cubicBezTo>
                    <a:pt x="2538" y="48875"/>
                    <a:pt x="2538" y="48875"/>
                    <a:pt x="2307" y="48875"/>
                  </a:cubicBezTo>
                  <a:cubicBezTo>
                    <a:pt x="2307" y="48875"/>
                    <a:pt x="2307" y="48875"/>
                    <a:pt x="2076" y="48875"/>
                  </a:cubicBezTo>
                  <a:cubicBezTo>
                    <a:pt x="2076" y="48875"/>
                    <a:pt x="1615" y="48875"/>
                    <a:pt x="1615" y="48875"/>
                  </a:cubicBezTo>
                  <a:cubicBezTo>
                    <a:pt x="1384" y="48574"/>
                    <a:pt x="1384" y="48875"/>
                    <a:pt x="1384" y="48875"/>
                  </a:cubicBezTo>
                  <a:cubicBezTo>
                    <a:pt x="1384" y="48875"/>
                    <a:pt x="1384" y="48875"/>
                    <a:pt x="692" y="48875"/>
                  </a:cubicBezTo>
                  <a:cubicBezTo>
                    <a:pt x="-230" y="48574"/>
                    <a:pt x="461" y="48574"/>
                    <a:pt x="461" y="48574"/>
                  </a:cubicBezTo>
                  <a:cubicBezTo>
                    <a:pt x="230" y="48272"/>
                    <a:pt x="230" y="48272"/>
                    <a:pt x="230" y="47971"/>
                  </a:cubicBezTo>
                  <a:cubicBezTo>
                    <a:pt x="230" y="47971"/>
                    <a:pt x="0" y="47368"/>
                    <a:pt x="0" y="47066"/>
                  </a:cubicBezTo>
                  <a:cubicBezTo>
                    <a:pt x="0" y="47066"/>
                    <a:pt x="0" y="46162"/>
                    <a:pt x="0" y="46162"/>
                  </a:cubicBezTo>
                  <a:cubicBezTo>
                    <a:pt x="0" y="46162"/>
                    <a:pt x="0" y="46162"/>
                    <a:pt x="692" y="44955"/>
                  </a:cubicBezTo>
                  <a:close/>
                  <a:moveTo>
                    <a:pt x="43147" y="0"/>
                  </a:moveTo>
                  <a:cubicBezTo>
                    <a:pt x="43147" y="0"/>
                    <a:pt x="43147" y="0"/>
                    <a:pt x="44079" y="1197"/>
                  </a:cubicBezTo>
                  <a:cubicBezTo>
                    <a:pt x="44079" y="1197"/>
                    <a:pt x="44079" y="1197"/>
                    <a:pt x="44545" y="2094"/>
                  </a:cubicBezTo>
                  <a:cubicBezTo>
                    <a:pt x="44545" y="2094"/>
                    <a:pt x="44545" y="2094"/>
                    <a:pt x="44079" y="2094"/>
                  </a:cubicBezTo>
                  <a:cubicBezTo>
                    <a:pt x="44079" y="2094"/>
                    <a:pt x="44079" y="2094"/>
                    <a:pt x="44079" y="2992"/>
                  </a:cubicBezTo>
                  <a:cubicBezTo>
                    <a:pt x="44079" y="2992"/>
                    <a:pt x="44079" y="2992"/>
                    <a:pt x="44777" y="3591"/>
                  </a:cubicBezTo>
                  <a:cubicBezTo>
                    <a:pt x="44777" y="3591"/>
                    <a:pt x="44777" y="3591"/>
                    <a:pt x="45709" y="3591"/>
                  </a:cubicBezTo>
                  <a:cubicBezTo>
                    <a:pt x="45709" y="3591"/>
                    <a:pt x="45709" y="3591"/>
                    <a:pt x="45709" y="2693"/>
                  </a:cubicBezTo>
                  <a:cubicBezTo>
                    <a:pt x="45709" y="2693"/>
                    <a:pt x="45709" y="2693"/>
                    <a:pt x="46175" y="2094"/>
                  </a:cubicBezTo>
                  <a:cubicBezTo>
                    <a:pt x="46175" y="2094"/>
                    <a:pt x="46175" y="2094"/>
                    <a:pt x="46640" y="2693"/>
                  </a:cubicBezTo>
                  <a:cubicBezTo>
                    <a:pt x="46640" y="2693"/>
                    <a:pt x="46640" y="2693"/>
                    <a:pt x="47339" y="3890"/>
                  </a:cubicBezTo>
                  <a:cubicBezTo>
                    <a:pt x="47339" y="3890"/>
                    <a:pt x="47339" y="3890"/>
                    <a:pt x="48736" y="3591"/>
                  </a:cubicBezTo>
                  <a:cubicBezTo>
                    <a:pt x="48736" y="3591"/>
                    <a:pt x="48736" y="3591"/>
                    <a:pt x="50600" y="4189"/>
                  </a:cubicBezTo>
                  <a:cubicBezTo>
                    <a:pt x="50600" y="4189"/>
                    <a:pt x="50600" y="4189"/>
                    <a:pt x="50600" y="5087"/>
                  </a:cubicBezTo>
                  <a:cubicBezTo>
                    <a:pt x="50600" y="5087"/>
                    <a:pt x="50600" y="5087"/>
                    <a:pt x="51065" y="6284"/>
                  </a:cubicBezTo>
                  <a:cubicBezTo>
                    <a:pt x="51065" y="6284"/>
                    <a:pt x="51065" y="6284"/>
                    <a:pt x="52230" y="7481"/>
                  </a:cubicBezTo>
                  <a:cubicBezTo>
                    <a:pt x="52230" y="7481"/>
                    <a:pt x="52230" y="7481"/>
                    <a:pt x="54791" y="7481"/>
                  </a:cubicBezTo>
                  <a:cubicBezTo>
                    <a:pt x="54791" y="7481"/>
                    <a:pt x="54791" y="7481"/>
                    <a:pt x="55490" y="7481"/>
                  </a:cubicBezTo>
                  <a:cubicBezTo>
                    <a:pt x="55490" y="7481"/>
                    <a:pt x="55490" y="7481"/>
                    <a:pt x="56189" y="6882"/>
                  </a:cubicBezTo>
                  <a:cubicBezTo>
                    <a:pt x="56189" y="6882"/>
                    <a:pt x="56189" y="6882"/>
                    <a:pt x="57120" y="6882"/>
                  </a:cubicBezTo>
                  <a:cubicBezTo>
                    <a:pt x="57120" y="6882"/>
                    <a:pt x="57120" y="6882"/>
                    <a:pt x="58285" y="7780"/>
                  </a:cubicBezTo>
                  <a:cubicBezTo>
                    <a:pt x="58285" y="7780"/>
                    <a:pt x="58285" y="7780"/>
                    <a:pt x="58518" y="8678"/>
                  </a:cubicBezTo>
                  <a:cubicBezTo>
                    <a:pt x="58518" y="8678"/>
                    <a:pt x="58518" y="8678"/>
                    <a:pt x="58518" y="9575"/>
                  </a:cubicBezTo>
                  <a:cubicBezTo>
                    <a:pt x="58518" y="9575"/>
                    <a:pt x="58518" y="9575"/>
                    <a:pt x="58518" y="9725"/>
                  </a:cubicBezTo>
                  <a:lnTo>
                    <a:pt x="58518" y="10174"/>
                  </a:lnTo>
                  <a:cubicBezTo>
                    <a:pt x="58518" y="10174"/>
                    <a:pt x="58518" y="10174"/>
                    <a:pt x="59682" y="9276"/>
                  </a:cubicBezTo>
                  <a:cubicBezTo>
                    <a:pt x="59682" y="9276"/>
                    <a:pt x="59682" y="9276"/>
                    <a:pt x="61079" y="8678"/>
                  </a:cubicBezTo>
                  <a:cubicBezTo>
                    <a:pt x="61079" y="8678"/>
                    <a:pt x="61079" y="8678"/>
                    <a:pt x="62011" y="8678"/>
                  </a:cubicBezTo>
                  <a:cubicBezTo>
                    <a:pt x="62011" y="8678"/>
                    <a:pt x="62011" y="8678"/>
                    <a:pt x="63874" y="9575"/>
                  </a:cubicBezTo>
                  <a:cubicBezTo>
                    <a:pt x="63874" y="9575"/>
                    <a:pt x="63874" y="9575"/>
                    <a:pt x="65504" y="10174"/>
                  </a:cubicBezTo>
                  <a:cubicBezTo>
                    <a:pt x="65504" y="10174"/>
                    <a:pt x="65504" y="10174"/>
                    <a:pt x="67367" y="9575"/>
                  </a:cubicBezTo>
                  <a:cubicBezTo>
                    <a:pt x="67367" y="9575"/>
                    <a:pt x="67367" y="9575"/>
                    <a:pt x="68299" y="8678"/>
                  </a:cubicBezTo>
                  <a:cubicBezTo>
                    <a:pt x="68299" y="8678"/>
                    <a:pt x="68299" y="8678"/>
                    <a:pt x="69230" y="8678"/>
                  </a:cubicBezTo>
                  <a:cubicBezTo>
                    <a:pt x="69230" y="8678"/>
                    <a:pt x="69230" y="8678"/>
                    <a:pt x="69696" y="8678"/>
                  </a:cubicBezTo>
                  <a:cubicBezTo>
                    <a:pt x="69696" y="8678"/>
                    <a:pt x="69696" y="8678"/>
                    <a:pt x="70861" y="10174"/>
                  </a:cubicBezTo>
                  <a:cubicBezTo>
                    <a:pt x="70861" y="10174"/>
                    <a:pt x="70861" y="10174"/>
                    <a:pt x="72025" y="11371"/>
                  </a:cubicBezTo>
                  <a:cubicBezTo>
                    <a:pt x="72025" y="11371"/>
                    <a:pt x="72025" y="11371"/>
                    <a:pt x="74121" y="11670"/>
                  </a:cubicBezTo>
                  <a:lnTo>
                    <a:pt x="75053" y="22144"/>
                  </a:lnTo>
                  <a:cubicBezTo>
                    <a:pt x="75053" y="22144"/>
                    <a:pt x="75053" y="22144"/>
                    <a:pt x="77847" y="48478"/>
                  </a:cubicBezTo>
                  <a:cubicBezTo>
                    <a:pt x="77847" y="48478"/>
                    <a:pt x="77847" y="48478"/>
                    <a:pt x="81108" y="80199"/>
                  </a:cubicBezTo>
                  <a:cubicBezTo>
                    <a:pt x="81108" y="80199"/>
                    <a:pt x="81108" y="80199"/>
                    <a:pt x="81806" y="81995"/>
                  </a:cubicBezTo>
                  <a:cubicBezTo>
                    <a:pt x="81806" y="81995"/>
                    <a:pt x="81806" y="81995"/>
                    <a:pt x="84135" y="81995"/>
                  </a:cubicBezTo>
                  <a:cubicBezTo>
                    <a:pt x="84135" y="81995"/>
                    <a:pt x="84135" y="81995"/>
                    <a:pt x="84601" y="80199"/>
                  </a:cubicBezTo>
                  <a:cubicBezTo>
                    <a:pt x="84601" y="80199"/>
                    <a:pt x="84601" y="80199"/>
                    <a:pt x="86464" y="80199"/>
                  </a:cubicBezTo>
                  <a:cubicBezTo>
                    <a:pt x="86464" y="80199"/>
                    <a:pt x="86464" y="80199"/>
                    <a:pt x="86464" y="81097"/>
                  </a:cubicBezTo>
                  <a:cubicBezTo>
                    <a:pt x="86464" y="81097"/>
                    <a:pt x="86464" y="81097"/>
                    <a:pt x="87163" y="82294"/>
                  </a:cubicBezTo>
                  <a:cubicBezTo>
                    <a:pt x="87163" y="82294"/>
                    <a:pt x="87163" y="82294"/>
                    <a:pt x="90190" y="84987"/>
                  </a:cubicBezTo>
                  <a:cubicBezTo>
                    <a:pt x="90190" y="84987"/>
                    <a:pt x="90190" y="84987"/>
                    <a:pt x="92752" y="88578"/>
                  </a:cubicBezTo>
                  <a:cubicBezTo>
                    <a:pt x="92752" y="88578"/>
                    <a:pt x="92752" y="88578"/>
                    <a:pt x="94149" y="87082"/>
                  </a:cubicBezTo>
                  <a:cubicBezTo>
                    <a:pt x="94149" y="87082"/>
                    <a:pt x="94149" y="87082"/>
                    <a:pt x="95081" y="84089"/>
                  </a:cubicBezTo>
                  <a:cubicBezTo>
                    <a:pt x="95081" y="84089"/>
                    <a:pt x="95081" y="84089"/>
                    <a:pt x="96245" y="82593"/>
                  </a:cubicBezTo>
                  <a:cubicBezTo>
                    <a:pt x="96245" y="82593"/>
                    <a:pt x="96245" y="82593"/>
                    <a:pt x="97410" y="81695"/>
                  </a:cubicBezTo>
                  <a:cubicBezTo>
                    <a:pt x="97410" y="81695"/>
                    <a:pt x="97410" y="81695"/>
                    <a:pt x="99506" y="82892"/>
                  </a:cubicBezTo>
                  <a:cubicBezTo>
                    <a:pt x="99506" y="82892"/>
                    <a:pt x="99506" y="82892"/>
                    <a:pt x="102067" y="85286"/>
                  </a:cubicBezTo>
                  <a:cubicBezTo>
                    <a:pt x="102067" y="85286"/>
                    <a:pt x="102067" y="85286"/>
                    <a:pt x="104629" y="88578"/>
                  </a:cubicBezTo>
                  <a:cubicBezTo>
                    <a:pt x="104629" y="88578"/>
                    <a:pt x="104629" y="88578"/>
                    <a:pt x="106492" y="91271"/>
                  </a:cubicBezTo>
                  <a:cubicBezTo>
                    <a:pt x="106492" y="91271"/>
                    <a:pt x="106492" y="91271"/>
                    <a:pt x="110218" y="96059"/>
                  </a:cubicBezTo>
                  <a:cubicBezTo>
                    <a:pt x="110218" y="96059"/>
                    <a:pt x="110218" y="96059"/>
                    <a:pt x="112547" y="100249"/>
                  </a:cubicBezTo>
                  <a:cubicBezTo>
                    <a:pt x="112547" y="100249"/>
                    <a:pt x="112547" y="100249"/>
                    <a:pt x="113944" y="100548"/>
                  </a:cubicBezTo>
                  <a:cubicBezTo>
                    <a:pt x="113944" y="100548"/>
                    <a:pt x="113944" y="100548"/>
                    <a:pt x="115575" y="100847"/>
                  </a:cubicBezTo>
                  <a:cubicBezTo>
                    <a:pt x="115575" y="100847"/>
                    <a:pt x="115575" y="100847"/>
                    <a:pt x="118369" y="102044"/>
                  </a:cubicBezTo>
                  <a:cubicBezTo>
                    <a:pt x="118369" y="102044"/>
                    <a:pt x="118369" y="102044"/>
                    <a:pt x="119534" y="102942"/>
                  </a:cubicBezTo>
                  <a:cubicBezTo>
                    <a:pt x="119534" y="102942"/>
                    <a:pt x="119534" y="102942"/>
                    <a:pt x="119534" y="104139"/>
                  </a:cubicBezTo>
                  <a:cubicBezTo>
                    <a:pt x="119534" y="104139"/>
                    <a:pt x="119534" y="104139"/>
                    <a:pt x="120000" y="106833"/>
                  </a:cubicBezTo>
                  <a:cubicBezTo>
                    <a:pt x="120000" y="106833"/>
                    <a:pt x="120000" y="106833"/>
                    <a:pt x="120000" y="108029"/>
                  </a:cubicBezTo>
                  <a:cubicBezTo>
                    <a:pt x="120000" y="108029"/>
                    <a:pt x="120000" y="108029"/>
                    <a:pt x="120000" y="109226"/>
                  </a:cubicBezTo>
                  <a:cubicBezTo>
                    <a:pt x="120000" y="109226"/>
                    <a:pt x="120000" y="109226"/>
                    <a:pt x="120000" y="111920"/>
                  </a:cubicBezTo>
                  <a:cubicBezTo>
                    <a:pt x="120000" y="111920"/>
                    <a:pt x="120000" y="111920"/>
                    <a:pt x="119068" y="112817"/>
                  </a:cubicBezTo>
                  <a:cubicBezTo>
                    <a:pt x="119068" y="112817"/>
                    <a:pt x="119068" y="112817"/>
                    <a:pt x="118369" y="111620"/>
                  </a:cubicBezTo>
                  <a:cubicBezTo>
                    <a:pt x="118369" y="111620"/>
                    <a:pt x="118369" y="111620"/>
                    <a:pt x="117671" y="110124"/>
                  </a:cubicBezTo>
                  <a:cubicBezTo>
                    <a:pt x="117671" y="110124"/>
                    <a:pt x="117671" y="110124"/>
                    <a:pt x="116972" y="110723"/>
                  </a:cubicBezTo>
                  <a:cubicBezTo>
                    <a:pt x="116972" y="110723"/>
                    <a:pt x="116972" y="110723"/>
                    <a:pt x="117671" y="112219"/>
                  </a:cubicBezTo>
                  <a:cubicBezTo>
                    <a:pt x="117671" y="112219"/>
                    <a:pt x="117671" y="112219"/>
                    <a:pt x="117205" y="112518"/>
                  </a:cubicBezTo>
                  <a:cubicBezTo>
                    <a:pt x="117205" y="112518"/>
                    <a:pt x="117205" y="112518"/>
                    <a:pt x="116506" y="111920"/>
                  </a:cubicBezTo>
                  <a:cubicBezTo>
                    <a:pt x="116506" y="111920"/>
                    <a:pt x="116506" y="111920"/>
                    <a:pt x="115109" y="111321"/>
                  </a:cubicBezTo>
                  <a:cubicBezTo>
                    <a:pt x="115109" y="111321"/>
                    <a:pt x="115109" y="111321"/>
                    <a:pt x="115109" y="110124"/>
                  </a:cubicBezTo>
                  <a:cubicBezTo>
                    <a:pt x="115109" y="110124"/>
                    <a:pt x="115109" y="110124"/>
                    <a:pt x="114643" y="108628"/>
                  </a:cubicBezTo>
                  <a:cubicBezTo>
                    <a:pt x="114643" y="108628"/>
                    <a:pt x="114643" y="108628"/>
                    <a:pt x="113944" y="108029"/>
                  </a:cubicBezTo>
                  <a:cubicBezTo>
                    <a:pt x="113944" y="108029"/>
                    <a:pt x="113944" y="108029"/>
                    <a:pt x="113479" y="106833"/>
                  </a:cubicBezTo>
                  <a:cubicBezTo>
                    <a:pt x="113479" y="106833"/>
                    <a:pt x="113479" y="106833"/>
                    <a:pt x="111616" y="105037"/>
                  </a:cubicBezTo>
                  <a:cubicBezTo>
                    <a:pt x="111616" y="105037"/>
                    <a:pt x="111616" y="105037"/>
                    <a:pt x="109985" y="105336"/>
                  </a:cubicBezTo>
                  <a:cubicBezTo>
                    <a:pt x="109985" y="105336"/>
                    <a:pt x="109985" y="105336"/>
                    <a:pt x="110451" y="106234"/>
                  </a:cubicBezTo>
                  <a:cubicBezTo>
                    <a:pt x="110451" y="106234"/>
                    <a:pt x="110451" y="106234"/>
                    <a:pt x="110917" y="106833"/>
                  </a:cubicBezTo>
                  <a:cubicBezTo>
                    <a:pt x="110917" y="106833"/>
                    <a:pt x="110917" y="106833"/>
                    <a:pt x="112547" y="108029"/>
                  </a:cubicBezTo>
                  <a:cubicBezTo>
                    <a:pt x="112547" y="108029"/>
                    <a:pt x="112547" y="108029"/>
                    <a:pt x="113479" y="109226"/>
                  </a:cubicBezTo>
                  <a:cubicBezTo>
                    <a:pt x="113479" y="109226"/>
                    <a:pt x="113479" y="109226"/>
                    <a:pt x="113479" y="110124"/>
                  </a:cubicBezTo>
                  <a:cubicBezTo>
                    <a:pt x="113479" y="110124"/>
                    <a:pt x="113479" y="110124"/>
                    <a:pt x="114177" y="111022"/>
                  </a:cubicBezTo>
                  <a:cubicBezTo>
                    <a:pt x="114177" y="111022"/>
                    <a:pt x="114177" y="111022"/>
                    <a:pt x="114643" y="111920"/>
                  </a:cubicBezTo>
                  <a:cubicBezTo>
                    <a:pt x="114643" y="111920"/>
                    <a:pt x="114643" y="111920"/>
                    <a:pt x="115109" y="114015"/>
                  </a:cubicBezTo>
                  <a:cubicBezTo>
                    <a:pt x="115109" y="114015"/>
                    <a:pt x="115109" y="114015"/>
                    <a:pt x="115109" y="114613"/>
                  </a:cubicBezTo>
                  <a:cubicBezTo>
                    <a:pt x="115109" y="114613"/>
                    <a:pt x="115109" y="114613"/>
                    <a:pt x="114410" y="114912"/>
                  </a:cubicBezTo>
                  <a:cubicBezTo>
                    <a:pt x="114410" y="114912"/>
                    <a:pt x="114410" y="114912"/>
                    <a:pt x="113944" y="113416"/>
                  </a:cubicBezTo>
                  <a:cubicBezTo>
                    <a:pt x="113944" y="113416"/>
                    <a:pt x="113944" y="113416"/>
                    <a:pt x="113944" y="114912"/>
                  </a:cubicBezTo>
                  <a:cubicBezTo>
                    <a:pt x="113944" y="114912"/>
                    <a:pt x="113944" y="114912"/>
                    <a:pt x="113479" y="116109"/>
                  </a:cubicBezTo>
                  <a:cubicBezTo>
                    <a:pt x="113479" y="116109"/>
                    <a:pt x="113479" y="116109"/>
                    <a:pt x="112780" y="115810"/>
                  </a:cubicBezTo>
                  <a:cubicBezTo>
                    <a:pt x="112780" y="115810"/>
                    <a:pt x="112780" y="115810"/>
                    <a:pt x="111616" y="114314"/>
                  </a:cubicBezTo>
                  <a:cubicBezTo>
                    <a:pt x="111616" y="114314"/>
                    <a:pt x="111616" y="114314"/>
                    <a:pt x="110451" y="112518"/>
                  </a:cubicBezTo>
                  <a:cubicBezTo>
                    <a:pt x="110451" y="112518"/>
                    <a:pt x="110451" y="112518"/>
                    <a:pt x="109520" y="113117"/>
                  </a:cubicBezTo>
                  <a:cubicBezTo>
                    <a:pt x="109520" y="113117"/>
                    <a:pt x="109520" y="113117"/>
                    <a:pt x="108821" y="113117"/>
                  </a:cubicBezTo>
                  <a:cubicBezTo>
                    <a:pt x="108821" y="113117"/>
                    <a:pt x="108821" y="113117"/>
                    <a:pt x="109287" y="111321"/>
                  </a:cubicBezTo>
                  <a:cubicBezTo>
                    <a:pt x="109287" y="111321"/>
                    <a:pt x="109287" y="111321"/>
                    <a:pt x="110451" y="111022"/>
                  </a:cubicBezTo>
                  <a:cubicBezTo>
                    <a:pt x="110451" y="111022"/>
                    <a:pt x="110451" y="111022"/>
                    <a:pt x="109985" y="109226"/>
                  </a:cubicBezTo>
                  <a:cubicBezTo>
                    <a:pt x="109985" y="109226"/>
                    <a:pt x="109985" y="109226"/>
                    <a:pt x="108588" y="110124"/>
                  </a:cubicBezTo>
                  <a:cubicBezTo>
                    <a:pt x="108588" y="110124"/>
                    <a:pt x="108588" y="110124"/>
                    <a:pt x="109054" y="108329"/>
                  </a:cubicBezTo>
                  <a:cubicBezTo>
                    <a:pt x="109054" y="108329"/>
                    <a:pt x="109054" y="108329"/>
                    <a:pt x="108355" y="107132"/>
                  </a:cubicBezTo>
                  <a:cubicBezTo>
                    <a:pt x="108355" y="107132"/>
                    <a:pt x="108355" y="107132"/>
                    <a:pt x="108122" y="106234"/>
                  </a:cubicBezTo>
                  <a:cubicBezTo>
                    <a:pt x="108122" y="106234"/>
                    <a:pt x="108122" y="106234"/>
                    <a:pt x="108122" y="105336"/>
                  </a:cubicBezTo>
                  <a:cubicBezTo>
                    <a:pt x="108122" y="105336"/>
                    <a:pt x="108122" y="105336"/>
                    <a:pt x="109054" y="103541"/>
                  </a:cubicBezTo>
                  <a:cubicBezTo>
                    <a:pt x="109054" y="103541"/>
                    <a:pt x="109054" y="103541"/>
                    <a:pt x="107889" y="103541"/>
                  </a:cubicBezTo>
                  <a:cubicBezTo>
                    <a:pt x="107889" y="103541"/>
                    <a:pt x="107889" y="103541"/>
                    <a:pt x="107424" y="104139"/>
                  </a:cubicBezTo>
                  <a:cubicBezTo>
                    <a:pt x="107424" y="104139"/>
                    <a:pt x="107424" y="104139"/>
                    <a:pt x="107424" y="104738"/>
                  </a:cubicBezTo>
                  <a:cubicBezTo>
                    <a:pt x="107424" y="104738"/>
                    <a:pt x="107424" y="104738"/>
                    <a:pt x="107424" y="106533"/>
                  </a:cubicBezTo>
                  <a:cubicBezTo>
                    <a:pt x="107424" y="106533"/>
                    <a:pt x="107424" y="106533"/>
                    <a:pt x="106725" y="107132"/>
                  </a:cubicBezTo>
                  <a:cubicBezTo>
                    <a:pt x="106725" y="107132"/>
                    <a:pt x="106725" y="107132"/>
                    <a:pt x="106259" y="107730"/>
                  </a:cubicBezTo>
                  <a:cubicBezTo>
                    <a:pt x="106259" y="107730"/>
                    <a:pt x="106259" y="107132"/>
                    <a:pt x="106259" y="106833"/>
                  </a:cubicBezTo>
                  <a:cubicBezTo>
                    <a:pt x="106259" y="106533"/>
                    <a:pt x="106026" y="105635"/>
                    <a:pt x="106026" y="105635"/>
                  </a:cubicBezTo>
                  <a:cubicBezTo>
                    <a:pt x="106026" y="105635"/>
                    <a:pt x="105794" y="104738"/>
                    <a:pt x="105794" y="104139"/>
                  </a:cubicBezTo>
                  <a:cubicBezTo>
                    <a:pt x="105794" y="103840"/>
                    <a:pt x="105561" y="103241"/>
                    <a:pt x="105561" y="103241"/>
                  </a:cubicBezTo>
                  <a:cubicBezTo>
                    <a:pt x="105561" y="103241"/>
                    <a:pt x="105328" y="102643"/>
                    <a:pt x="105328" y="102344"/>
                  </a:cubicBezTo>
                  <a:cubicBezTo>
                    <a:pt x="105328" y="101745"/>
                    <a:pt x="105328" y="101446"/>
                    <a:pt x="105328" y="101446"/>
                  </a:cubicBezTo>
                  <a:cubicBezTo>
                    <a:pt x="105328" y="101446"/>
                    <a:pt x="105561" y="100847"/>
                    <a:pt x="106026" y="100847"/>
                  </a:cubicBezTo>
                  <a:cubicBezTo>
                    <a:pt x="106259" y="100548"/>
                    <a:pt x="106492" y="99950"/>
                    <a:pt x="106492" y="99950"/>
                  </a:cubicBezTo>
                  <a:cubicBezTo>
                    <a:pt x="106492" y="99950"/>
                    <a:pt x="106492" y="99950"/>
                    <a:pt x="107424" y="98753"/>
                  </a:cubicBezTo>
                  <a:cubicBezTo>
                    <a:pt x="107424" y="98753"/>
                    <a:pt x="107424" y="98753"/>
                    <a:pt x="106492" y="96658"/>
                  </a:cubicBezTo>
                  <a:cubicBezTo>
                    <a:pt x="106492" y="96658"/>
                    <a:pt x="106492" y="96658"/>
                    <a:pt x="106026" y="96957"/>
                  </a:cubicBezTo>
                  <a:cubicBezTo>
                    <a:pt x="106026" y="96957"/>
                    <a:pt x="106026" y="96957"/>
                    <a:pt x="105561" y="98453"/>
                  </a:cubicBezTo>
                  <a:cubicBezTo>
                    <a:pt x="105561" y="98453"/>
                    <a:pt x="105561" y="98453"/>
                    <a:pt x="104629" y="99950"/>
                  </a:cubicBezTo>
                  <a:cubicBezTo>
                    <a:pt x="104629" y="99950"/>
                    <a:pt x="104629" y="99950"/>
                    <a:pt x="103930" y="100548"/>
                  </a:cubicBezTo>
                  <a:cubicBezTo>
                    <a:pt x="103930" y="100548"/>
                    <a:pt x="103930" y="100548"/>
                    <a:pt x="103697" y="101147"/>
                  </a:cubicBezTo>
                  <a:cubicBezTo>
                    <a:pt x="103697" y="101147"/>
                    <a:pt x="103697" y="101147"/>
                    <a:pt x="104163" y="103541"/>
                  </a:cubicBezTo>
                  <a:cubicBezTo>
                    <a:pt x="104163" y="103541"/>
                    <a:pt x="104163" y="103541"/>
                    <a:pt x="105095" y="106833"/>
                  </a:cubicBezTo>
                  <a:cubicBezTo>
                    <a:pt x="105095" y="106833"/>
                    <a:pt x="105095" y="106833"/>
                    <a:pt x="104163" y="106533"/>
                  </a:cubicBezTo>
                  <a:cubicBezTo>
                    <a:pt x="104163" y="106533"/>
                    <a:pt x="104163" y="106533"/>
                    <a:pt x="102766" y="102942"/>
                  </a:cubicBezTo>
                  <a:cubicBezTo>
                    <a:pt x="102766" y="102942"/>
                    <a:pt x="102766" y="102942"/>
                    <a:pt x="101136" y="99950"/>
                  </a:cubicBezTo>
                  <a:cubicBezTo>
                    <a:pt x="101136" y="99950"/>
                    <a:pt x="101136" y="99950"/>
                    <a:pt x="100670" y="101745"/>
                  </a:cubicBezTo>
                  <a:cubicBezTo>
                    <a:pt x="100670" y="101745"/>
                    <a:pt x="100670" y="101745"/>
                    <a:pt x="100204" y="101446"/>
                  </a:cubicBezTo>
                  <a:cubicBezTo>
                    <a:pt x="100204" y="101446"/>
                    <a:pt x="100204" y="101446"/>
                    <a:pt x="99506" y="99351"/>
                  </a:cubicBezTo>
                  <a:cubicBezTo>
                    <a:pt x="99506" y="99351"/>
                    <a:pt x="99506" y="99351"/>
                    <a:pt x="98574" y="98453"/>
                  </a:cubicBezTo>
                  <a:cubicBezTo>
                    <a:pt x="98574" y="98453"/>
                    <a:pt x="98574" y="98453"/>
                    <a:pt x="96245" y="95162"/>
                  </a:cubicBezTo>
                  <a:cubicBezTo>
                    <a:pt x="96245" y="95162"/>
                    <a:pt x="96245" y="95162"/>
                    <a:pt x="96245" y="93067"/>
                  </a:cubicBezTo>
                  <a:cubicBezTo>
                    <a:pt x="96245" y="93067"/>
                    <a:pt x="96245" y="93067"/>
                    <a:pt x="95779" y="94264"/>
                  </a:cubicBezTo>
                  <a:cubicBezTo>
                    <a:pt x="95779" y="94264"/>
                    <a:pt x="95779" y="94264"/>
                    <a:pt x="94615" y="93665"/>
                  </a:cubicBezTo>
                  <a:cubicBezTo>
                    <a:pt x="94615" y="93665"/>
                    <a:pt x="94615" y="93665"/>
                    <a:pt x="92053" y="90673"/>
                  </a:cubicBezTo>
                  <a:cubicBezTo>
                    <a:pt x="92053" y="90673"/>
                    <a:pt x="92053" y="90673"/>
                    <a:pt x="90423" y="88279"/>
                  </a:cubicBezTo>
                  <a:cubicBezTo>
                    <a:pt x="90423" y="88279"/>
                    <a:pt x="90423" y="88279"/>
                    <a:pt x="89492" y="88578"/>
                  </a:cubicBezTo>
                  <a:cubicBezTo>
                    <a:pt x="89492" y="88578"/>
                    <a:pt x="89492" y="88578"/>
                    <a:pt x="87395" y="87980"/>
                  </a:cubicBezTo>
                  <a:cubicBezTo>
                    <a:pt x="87395" y="87980"/>
                    <a:pt x="87395" y="87980"/>
                    <a:pt x="85998" y="86184"/>
                  </a:cubicBezTo>
                  <a:cubicBezTo>
                    <a:pt x="85998" y="86184"/>
                    <a:pt x="85998" y="86184"/>
                    <a:pt x="85998" y="84089"/>
                  </a:cubicBezTo>
                  <a:cubicBezTo>
                    <a:pt x="85998" y="84089"/>
                    <a:pt x="85998" y="84089"/>
                    <a:pt x="85299" y="84688"/>
                  </a:cubicBezTo>
                  <a:cubicBezTo>
                    <a:pt x="85299" y="84688"/>
                    <a:pt x="85299" y="84688"/>
                    <a:pt x="82505" y="84688"/>
                  </a:cubicBezTo>
                  <a:cubicBezTo>
                    <a:pt x="82505" y="84688"/>
                    <a:pt x="82505" y="84688"/>
                    <a:pt x="81108" y="84389"/>
                  </a:cubicBezTo>
                  <a:cubicBezTo>
                    <a:pt x="81108" y="84389"/>
                    <a:pt x="81108" y="84389"/>
                    <a:pt x="79477" y="83790"/>
                  </a:cubicBezTo>
                  <a:cubicBezTo>
                    <a:pt x="79477" y="83790"/>
                    <a:pt x="79477" y="83790"/>
                    <a:pt x="76450" y="83491"/>
                  </a:cubicBezTo>
                  <a:cubicBezTo>
                    <a:pt x="76450" y="83491"/>
                    <a:pt x="76450" y="83491"/>
                    <a:pt x="73422" y="84389"/>
                  </a:cubicBezTo>
                  <a:cubicBezTo>
                    <a:pt x="73422" y="84389"/>
                    <a:pt x="73422" y="84389"/>
                    <a:pt x="71326" y="84987"/>
                  </a:cubicBezTo>
                  <a:cubicBezTo>
                    <a:pt x="71326" y="84987"/>
                    <a:pt x="71326" y="84987"/>
                    <a:pt x="71792" y="82593"/>
                  </a:cubicBezTo>
                  <a:cubicBezTo>
                    <a:pt x="71792" y="82593"/>
                    <a:pt x="71792" y="82593"/>
                    <a:pt x="71093" y="83191"/>
                  </a:cubicBezTo>
                  <a:cubicBezTo>
                    <a:pt x="71093" y="83191"/>
                    <a:pt x="71093" y="83191"/>
                    <a:pt x="69929" y="82294"/>
                  </a:cubicBezTo>
                  <a:cubicBezTo>
                    <a:pt x="69929" y="82294"/>
                    <a:pt x="69929" y="82294"/>
                    <a:pt x="68997" y="81695"/>
                  </a:cubicBezTo>
                  <a:cubicBezTo>
                    <a:pt x="68997" y="81695"/>
                    <a:pt x="68997" y="81695"/>
                    <a:pt x="68066" y="81695"/>
                  </a:cubicBezTo>
                  <a:cubicBezTo>
                    <a:pt x="68066" y="81695"/>
                    <a:pt x="68066" y="81695"/>
                    <a:pt x="67367" y="81695"/>
                  </a:cubicBezTo>
                  <a:cubicBezTo>
                    <a:pt x="67367" y="81695"/>
                    <a:pt x="67367" y="81695"/>
                    <a:pt x="66203" y="82593"/>
                  </a:cubicBezTo>
                  <a:cubicBezTo>
                    <a:pt x="66203" y="82593"/>
                    <a:pt x="66203" y="82593"/>
                    <a:pt x="65271" y="83191"/>
                  </a:cubicBezTo>
                  <a:cubicBezTo>
                    <a:pt x="65271" y="83191"/>
                    <a:pt x="65271" y="83191"/>
                    <a:pt x="64340" y="84688"/>
                  </a:cubicBezTo>
                  <a:cubicBezTo>
                    <a:pt x="64340" y="84688"/>
                    <a:pt x="64340" y="84688"/>
                    <a:pt x="63874" y="85286"/>
                  </a:cubicBezTo>
                  <a:cubicBezTo>
                    <a:pt x="63874" y="85286"/>
                    <a:pt x="63874" y="85286"/>
                    <a:pt x="62710" y="84987"/>
                  </a:cubicBezTo>
                  <a:cubicBezTo>
                    <a:pt x="62710" y="84987"/>
                    <a:pt x="62710" y="84987"/>
                    <a:pt x="63874" y="83790"/>
                  </a:cubicBezTo>
                  <a:cubicBezTo>
                    <a:pt x="63874" y="83790"/>
                    <a:pt x="63874" y="83790"/>
                    <a:pt x="65271" y="81995"/>
                  </a:cubicBezTo>
                  <a:cubicBezTo>
                    <a:pt x="65271" y="81995"/>
                    <a:pt x="65271" y="81995"/>
                    <a:pt x="66203" y="80798"/>
                  </a:cubicBezTo>
                  <a:cubicBezTo>
                    <a:pt x="66203" y="80798"/>
                    <a:pt x="66203" y="80798"/>
                    <a:pt x="66902" y="79600"/>
                  </a:cubicBezTo>
                  <a:cubicBezTo>
                    <a:pt x="66902" y="79600"/>
                    <a:pt x="66902" y="79600"/>
                    <a:pt x="66436" y="79600"/>
                  </a:cubicBezTo>
                  <a:cubicBezTo>
                    <a:pt x="66436" y="79600"/>
                    <a:pt x="66436" y="79600"/>
                    <a:pt x="65504" y="79002"/>
                  </a:cubicBezTo>
                  <a:cubicBezTo>
                    <a:pt x="65504" y="79002"/>
                    <a:pt x="65504" y="79002"/>
                    <a:pt x="65504" y="76907"/>
                  </a:cubicBezTo>
                  <a:cubicBezTo>
                    <a:pt x="65504" y="76907"/>
                    <a:pt x="65504" y="76907"/>
                    <a:pt x="64573" y="77805"/>
                  </a:cubicBezTo>
                  <a:cubicBezTo>
                    <a:pt x="64573" y="77805"/>
                    <a:pt x="64573" y="77805"/>
                    <a:pt x="64340" y="78104"/>
                  </a:cubicBezTo>
                  <a:cubicBezTo>
                    <a:pt x="64340" y="78104"/>
                    <a:pt x="64340" y="78104"/>
                    <a:pt x="62710" y="78104"/>
                  </a:cubicBezTo>
                  <a:cubicBezTo>
                    <a:pt x="62710" y="78104"/>
                    <a:pt x="62710" y="78104"/>
                    <a:pt x="61312" y="77805"/>
                  </a:cubicBezTo>
                  <a:cubicBezTo>
                    <a:pt x="61312" y="77805"/>
                    <a:pt x="61312" y="77805"/>
                    <a:pt x="60614" y="78703"/>
                  </a:cubicBezTo>
                  <a:cubicBezTo>
                    <a:pt x="60614" y="78703"/>
                    <a:pt x="60614" y="78703"/>
                    <a:pt x="60148" y="80498"/>
                  </a:cubicBezTo>
                  <a:cubicBezTo>
                    <a:pt x="60148" y="80498"/>
                    <a:pt x="60148" y="80498"/>
                    <a:pt x="61079" y="81995"/>
                  </a:cubicBezTo>
                  <a:cubicBezTo>
                    <a:pt x="61079" y="81995"/>
                    <a:pt x="61079" y="81995"/>
                    <a:pt x="60614" y="84389"/>
                  </a:cubicBezTo>
                  <a:cubicBezTo>
                    <a:pt x="60614" y="84389"/>
                    <a:pt x="60614" y="84389"/>
                    <a:pt x="59449" y="85885"/>
                  </a:cubicBezTo>
                  <a:cubicBezTo>
                    <a:pt x="59449" y="85885"/>
                    <a:pt x="59449" y="85885"/>
                    <a:pt x="58285" y="85885"/>
                  </a:cubicBezTo>
                  <a:cubicBezTo>
                    <a:pt x="58285" y="85885"/>
                    <a:pt x="58285" y="85885"/>
                    <a:pt x="56888" y="85885"/>
                  </a:cubicBezTo>
                  <a:cubicBezTo>
                    <a:pt x="56888" y="85885"/>
                    <a:pt x="56888" y="85885"/>
                    <a:pt x="56422" y="87980"/>
                  </a:cubicBezTo>
                  <a:cubicBezTo>
                    <a:pt x="56422" y="87980"/>
                    <a:pt x="56422" y="87980"/>
                    <a:pt x="54559" y="88877"/>
                  </a:cubicBezTo>
                  <a:cubicBezTo>
                    <a:pt x="54559" y="88877"/>
                    <a:pt x="54559" y="88877"/>
                    <a:pt x="54326" y="89476"/>
                  </a:cubicBezTo>
                  <a:cubicBezTo>
                    <a:pt x="54326" y="89476"/>
                    <a:pt x="54326" y="89476"/>
                    <a:pt x="52695" y="90972"/>
                  </a:cubicBezTo>
                  <a:cubicBezTo>
                    <a:pt x="52695" y="90972"/>
                    <a:pt x="52695" y="90972"/>
                    <a:pt x="51065" y="91571"/>
                  </a:cubicBezTo>
                  <a:cubicBezTo>
                    <a:pt x="51065" y="91571"/>
                    <a:pt x="51065" y="91571"/>
                    <a:pt x="50134" y="91870"/>
                  </a:cubicBezTo>
                  <a:cubicBezTo>
                    <a:pt x="50134" y="91870"/>
                    <a:pt x="50134" y="91870"/>
                    <a:pt x="49668" y="90972"/>
                  </a:cubicBezTo>
                  <a:cubicBezTo>
                    <a:pt x="49668" y="90972"/>
                    <a:pt x="49668" y="90972"/>
                    <a:pt x="49435" y="90374"/>
                  </a:cubicBezTo>
                  <a:cubicBezTo>
                    <a:pt x="49435" y="90374"/>
                    <a:pt x="49435" y="90374"/>
                    <a:pt x="50600" y="89775"/>
                  </a:cubicBezTo>
                  <a:cubicBezTo>
                    <a:pt x="50600" y="89775"/>
                    <a:pt x="50600" y="89775"/>
                    <a:pt x="51531" y="88279"/>
                  </a:cubicBezTo>
                  <a:cubicBezTo>
                    <a:pt x="51531" y="88279"/>
                    <a:pt x="51531" y="88279"/>
                    <a:pt x="50367" y="88279"/>
                  </a:cubicBezTo>
                  <a:cubicBezTo>
                    <a:pt x="50367" y="88279"/>
                    <a:pt x="50367" y="88279"/>
                    <a:pt x="49901" y="87381"/>
                  </a:cubicBezTo>
                  <a:cubicBezTo>
                    <a:pt x="49901" y="87381"/>
                    <a:pt x="49901" y="87381"/>
                    <a:pt x="51065" y="85286"/>
                  </a:cubicBezTo>
                  <a:cubicBezTo>
                    <a:pt x="51065" y="85286"/>
                    <a:pt x="51065" y="85286"/>
                    <a:pt x="51531" y="83191"/>
                  </a:cubicBezTo>
                  <a:cubicBezTo>
                    <a:pt x="51531" y="83191"/>
                    <a:pt x="51531" y="83191"/>
                    <a:pt x="52230" y="80199"/>
                  </a:cubicBezTo>
                  <a:cubicBezTo>
                    <a:pt x="52230" y="80199"/>
                    <a:pt x="52230" y="80199"/>
                    <a:pt x="53394" y="78404"/>
                  </a:cubicBezTo>
                  <a:cubicBezTo>
                    <a:pt x="53394" y="78404"/>
                    <a:pt x="53394" y="78404"/>
                    <a:pt x="57586" y="79002"/>
                  </a:cubicBezTo>
                  <a:cubicBezTo>
                    <a:pt x="57586" y="79002"/>
                    <a:pt x="57586" y="79002"/>
                    <a:pt x="56888" y="77805"/>
                  </a:cubicBezTo>
                  <a:cubicBezTo>
                    <a:pt x="56888" y="77805"/>
                    <a:pt x="56888" y="77805"/>
                    <a:pt x="55723" y="77506"/>
                  </a:cubicBezTo>
                  <a:cubicBezTo>
                    <a:pt x="55723" y="77506"/>
                    <a:pt x="55723" y="77506"/>
                    <a:pt x="53627" y="76309"/>
                  </a:cubicBezTo>
                  <a:cubicBezTo>
                    <a:pt x="53627" y="76309"/>
                    <a:pt x="53627" y="76309"/>
                    <a:pt x="51997" y="77207"/>
                  </a:cubicBezTo>
                  <a:cubicBezTo>
                    <a:pt x="51997" y="77207"/>
                    <a:pt x="51997" y="77207"/>
                    <a:pt x="50600" y="78703"/>
                  </a:cubicBezTo>
                  <a:cubicBezTo>
                    <a:pt x="50600" y="78703"/>
                    <a:pt x="50600" y="78703"/>
                    <a:pt x="49202" y="80199"/>
                  </a:cubicBezTo>
                  <a:cubicBezTo>
                    <a:pt x="49202" y="80199"/>
                    <a:pt x="49202" y="80199"/>
                    <a:pt x="48504" y="81995"/>
                  </a:cubicBezTo>
                  <a:cubicBezTo>
                    <a:pt x="48504" y="81995"/>
                    <a:pt x="48504" y="81995"/>
                    <a:pt x="48271" y="83491"/>
                  </a:cubicBezTo>
                  <a:cubicBezTo>
                    <a:pt x="48271" y="83491"/>
                    <a:pt x="48271" y="83491"/>
                    <a:pt x="47339" y="83491"/>
                  </a:cubicBezTo>
                  <a:cubicBezTo>
                    <a:pt x="47339" y="83491"/>
                    <a:pt x="47339" y="83491"/>
                    <a:pt x="47339" y="84089"/>
                  </a:cubicBezTo>
                  <a:cubicBezTo>
                    <a:pt x="47339" y="84089"/>
                    <a:pt x="47339" y="84089"/>
                    <a:pt x="47805" y="85286"/>
                  </a:cubicBezTo>
                  <a:cubicBezTo>
                    <a:pt x="47805" y="85286"/>
                    <a:pt x="47805" y="85286"/>
                    <a:pt x="47572" y="86184"/>
                  </a:cubicBezTo>
                  <a:cubicBezTo>
                    <a:pt x="47572" y="86184"/>
                    <a:pt x="47572" y="86184"/>
                    <a:pt x="46873" y="87082"/>
                  </a:cubicBezTo>
                  <a:cubicBezTo>
                    <a:pt x="46873" y="87082"/>
                    <a:pt x="46873" y="87082"/>
                    <a:pt x="45243" y="88279"/>
                  </a:cubicBezTo>
                  <a:cubicBezTo>
                    <a:pt x="45243" y="88279"/>
                    <a:pt x="45243" y="88279"/>
                    <a:pt x="44312" y="89177"/>
                  </a:cubicBezTo>
                  <a:cubicBezTo>
                    <a:pt x="44312" y="89177"/>
                    <a:pt x="44312" y="89177"/>
                    <a:pt x="43147" y="90673"/>
                  </a:cubicBezTo>
                  <a:cubicBezTo>
                    <a:pt x="43147" y="90673"/>
                    <a:pt x="43147" y="90673"/>
                    <a:pt x="42914" y="92169"/>
                  </a:cubicBezTo>
                  <a:cubicBezTo>
                    <a:pt x="42914" y="92169"/>
                    <a:pt x="42914" y="92169"/>
                    <a:pt x="44545" y="92768"/>
                  </a:cubicBezTo>
                  <a:cubicBezTo>
                    <a:pt x="44545" y="92768"/>
                    <a:pt x="44545" y="92768"/>
                    <a:pt x="44777" y="94862"/>
                  </a:cubicBezTo>
                  <a:cubicBezTo>
                    <a:pt x="44777" y="94862"/>
                    <a:pt x="44777" y="94862"/>
                    <a:pt x="44079" y="96059"/>
                  </a:cubicBezTo>
                  <a:cubicBezTo>
                    <a:pt x="44079" y="96059"/>
                    <a:pt x="44079" y="96059"/>
                    <a:pt x="42914" y="96957"/>
                  </a:cubicBezTo>
                  <a:cubicBezTo>
                    <a:pt x="42914" y="96957"/>
                    <a:pt x="42914" y="96957"/>
                    <a:pt x="41517" y="99351"/>
                  </a:cubicBezTo>
                  <a:cubicBezTo>
                    <a:pt x="41517" y="99351"/>
                    <a:pt x="41517" y="99351"/>
                    <a:pt x="39421" y="101147"/>
                  </a:cubicBezTo>
                  <a:cubicBezTo>
                    <a:pt x="39421" y="101147"/>
                    <a:pt x="39421" y="101147"/>
                    <a:pt x="35229" y="103840"/>
                  </a:cubicBezTo>
                  <a:cubicBezTo>
                    <a:pt x="35229" y="103840"/>
                    <a:pt x="35229" y="103840"/>
                    <a:pt x="34996" y="106234"/>
                  </a:cubicBezTo>
                  <a:cubicBezTo>
                    <a:pt x="34996" y="106234"/>
                    <a:pt x="34996" y="106234"/>
                    <a:pt x="33366" y="107132"/>
                  </a:cubicBezTo>
                  <a:cubicBezTo>
                    <a:pt x="33366" y="107132"/>
                    <a:pt x="33366" y="107132"/>
                    <a:pt x="31736" y="108329"/>
                  </a:cubicBezTo>
                  <a:cubicBezTo>
                    <a:pt x="31736" y="108329"/>
                    <a:pt x="31736" y="108329"/>
                    <a:pt x="29640" y="109226"/>
                  </a:cubicBezTo>
                  <a:cubicBezTo>
                    <a:pt x="29640" y="109226"/>
                    <a:pt x="29640" y="109226"/>
                    <a:pt x="28941" y="109825"/>
                  </a:cubicBezTo>
                  <a:cubicBezTo>
                    <a:pt x="28941" y="109825"/>
                    <a:pt x="28941" y="109825"/>
                    <a:pt x="28010" y="110723"/>
                  </a:cubicBezTo>
                  <a:cubicBezTo>
                    <a:pt x="28010" y="110723"/>
                    <a:pt x="28010" y="110723"/>
                    <a:pt x="27311" y="111620"/>
                  </a:cubicBezTo>
                  <a:cubicBezTo>
                    <a:pt x="27311" y="111620"/>
                    <a:pt x="27311" y="111620"/>
                    <a:pt x="26845" y="113416"/>
                  </a:cubicBezTo>
                  <a:cubicBezTo>
                    <a:pt x="26845" y="113416"/>
                    <a:pt x="26845" y="113416"/>
                    <a:pt x="25681" y="113715"/>
                  </a:cubicBezTo>
                  <a:cubicBezTo>
                    <a:pt x="25681" y="113715"/>
                    <a:pt x="25681" y="113715"/>
                    <a:pt x="24050" y="114314"/>
                  </a:cubicBezTo>
                  <a:cubicBezTo>
                    <a:pt x="24050" y="114314"/>
                    <a:pt x="24050" y="114314"/>
                    <a:pt x="22886" y="114314"/>
                  </a:cubicBezTo>
                  <a:cubicBezTo>
                    <a:pt x="22886" y="114314"/>
                    <a:pt x="22886" y="114314"/>
                    <a:pt x="21722" y="114912"/>
                  </a:cubicBezTo>
                  <a:cubicBezTo>
                    <a:pt x="21722" y="114912"/>
                    <a:pt x="21722" y="114912"/>
                    <a:pt x="20091" y="116109"/>
                  </a:cubicBezTo>
                  <a:cubicBezTo>
                    <a:pt x="20091" y="116109"/>
                    <a:pt x="20091" y="116109"/>
                    <a:pt x="20557" y="117606"/>
                  </a:cubicBezTo>
                  <a:cubicBezTo>
                    <a:pt x="20557" y="117606"/>
                    <a:pt x="20557" y="117606"/>
                    <a:pt x="20091" y="117905"/>
                  </a:cubicBezTo>
                  <a:cubicBezTo>
                    <a:pt x="20091" y="117905"/>
                    <a:pt x="20091" y="117905"/>
                    <a:pt x="18927" y="117007"/>
                  </a:cubicBezTo>
                  <a:cubicBezTo>
                    <a:pt x="18927" y="117007"/>
                    <a:pt x="18927" y="117007"/>
                    <a:pt x="17763" y="116408"/>
                  </a:cubicBezTo>
                  <a:cubicBezTo>
                    <a:pt x="17763" y="116408"/>
                    <a:pt x="17763" y="116408"/>
                    <a:pt x="16831" y="114613"/>
                  </a:cubicBezTo>
                  <a:cubicBezTo>
                    <a:pt x="16831" y="114613"/>
                    <a:pt x="16831" y="114613"/>
                    <a:pt x="16598" y="115211"/>
                  </a:cubicBezTo>
                  <a:cubicBezTo>
                    <a:pt x="16598" y="115211"/>
                    <a:pt x="16598" y="115211"/>
                    <a:pt x="16598" y="117606"/>
                  </a:cubicBezTo>
                  <a:cubicBezTo>
                    <a:pt x="16598" y="117606"/>
                    <a:pt x="16598" y="117606"/>
                    <a:pt x="15201" y="117606"/>
                  </a:cubicBezTo>
                  <a:cubicBezTo>
                    <a:pt x="15201" y="117606"/>
                    <a:pt x="15201" y="117606"/>
                    <a:pt x="15201" y="118503"/>
                  </a:cubicBezTo>
                  <a:cubicBezTo>
                    <a:pt x="15201" y="118503"/>
                    <a:pt x="15201" y="118503"/>
                    <a:pt x="13804" y="118503"/>
                  </a:cubicBezTo>
                  <a:cubicBezTo>
                    <a:pt x="13804" y="118503"/>
                    <a:pt x="13804" y="118503"/>
                    <a:pt x="13804" y="118204"/>
                  </a:cubicBezTo>
                  <a:cubicBezTo>
                    <a:pt x="13804" y="117905"/>
                    <a:pt x="13105" y="117905"/>
                    <a:pt x="13105" y="117905"/>
                  </a:cubicBezTo>
                  <a:cubicBezTo>
                    <a:pt x="13105" y="117905"/>
                    <a:pt x="13105" y="117905"/>
                    <a:pt x="12173" y="117905"/>
                  </a:cubicBezTo>
                  <a:cubicBezTo>
                    <a:pt x="12173" y="117905"/>
                    <a:pt x="12173" y="117905"/>
                    <a:pt x="11009" y="118204"/>
                  </a:cubicBezTo>
                  <a:cubicBezTo>
                    <a:pt x="11009" y="118204"/>
                    <a:pt x="11009" y="118204"/>
                    <a:pt x="9612" y="120000"/>
                  </a:cubicBezTo>
                  <a:cubicBezTo>
                    <a:pt x="9612" y="120000"/>
                    <a:pt x="9612" y="120000"/>
                    <a:pt x="7050" y="120000"/>
                  </a:cubicBezTo>
                  <a:cubicBezTo>
                    <a:pt x="7050" y="120000"/>
                    <a:pt x="7050" y="120000"/>
                    <a:pt x="4721" y="120000"/>
                  </a:cubicBezTo>
                  <a:cubicBezTo>
                    <a:pt x="4721" y="120000"/>
                    <a:pt x="4721" y="120000"/>
                    <a:pt x="4721" y="118802"/>
                  </a:cubicBezTo>
                  <a:cubicBezTo>
                    <a:pt x="4721" y="118802"/>
                    <a:pt x="4721" y="118802"/>
                    <a:pt x="6351" y="116408"/>
                  </a:cubicBezTo>
                  <a:cubicBezTo>
                    <a:pt x="6351" y="116408"/>
                    <a:pt x="6351" y="116408"/>
                    <a:pt x="9146" y="116408"/>
                  </a:cubicBezTo>
                  <a:cubicBezTo>
                    <a:pt x="9146" y="116408"/>
                    <a:pt x="9146" y="116408"/>
                    <a:pt x="10310" y="116408"/>
                  </a:cubicBezTo>
                  <a:cubicBezTo>
                    <a:pt x="10310" y="116408"/>
                    <a:pt x="10310" y="116408"/>
                    <a:pt x="11475" y="115511"/>
                  </a:cubicBezTo>
                  <a:cubicBezTo>
                    <a:pt x="11475" y="115511"/>
                    <a:pt x="11475" y="115511"/>
                    <a:pt x="13105" y="114912"/>
                  </a:cubicBezTo>
                  <a:cubicBezTo>
                    <a:pt x="13105" y="114912"/>
                    <a:pt x="13105" y="114912"/>
                    <a:pt x="13804" y="114314"/>
                  </a:cubicBezTo>
                  <a:cubicBezTo>
                    <a:pt x="13804" y="114314"/>
                    <a:pt x="13804" y="114314"/>
                    <a:pt x="14502" y="112817"/>
                  </a:cubicBezTo>
                  <a:cubicBezTo>
                    <a:pt x="14502" y="112817"/>
                    <a:pt x="14502" y="112817"/>
                    <a:pt x="15900" y="111920"/>
                  </a:cubicBezTo>
                  <a:cubicBezTo>
                    <a:pt x="15900" y="111920"/>
                    <a:pt x="15900" y="111920"/>
                    <a:pt x="17995" y="111620"/>
                  </a:cubicBezTo>
                  <a:cubicBezTo>
                    <a:pt x="17995" y="111620"/>
                    <a:pt x="17995" y="111620"/>
                    <a:pt x="19160" y="111620"/>
                  </a:cubicBezTo>
                  <a:cubicBezTo>
                    <a:pt x="19160" y="111620"/>
                    <a:pt x="19160" y="111620"/>
                    <a:pt x="20091" y="112817"/>
                  </a:cubicBezTo>
                  <a:cubicBezTo>
                    <a:pt x="20091" y="112817"/>
                    <a:pt x="20091" y="112817"/>
                    <a:pt x="21023" y="111920"/>
                  </a:cubicBezTo>
                  <a:cubicBezTo>
                    <a:pt x="21023" y="111920"/>
                    <a:pt x="21023" y="111920"/>
                    <a:pt x="21955" y="110124"/>
                  </a:cubicBezTo>
                  <a:cubicBezTo>
                    <a:pt x="21955" y="110124"/>
                    <a:pt x="21955" y="110124"/>
                    <a:pt x="23119" y="108628"/>
                  </a:cubicBezTo>
                  <a:cubicBezTo>
                    <a:pt x="23119" y="108628"/>
                    <a:pt x="23119" y="108628"/>
                    <a:pt x="24283" y="107730"/>
                  </a:cubicBezTo>
                  <a:cubicBezTo>
                    <a:pt x="24283" y="107730"/>
                    <a:pt x="24283" y="107730"/>
                    <a:pt x="26612" y="107132"/>
                  </a:cubicBezTo>
                  <a:cubicBezTo>
                    <a:pt x="26612" y="107132"/>
                    <a:pt x="26612" y="107132"/>
                    <a:pt x="27544" y="105935"/>
                  </a:cubicBezTo>
                  <a:cubicBezTo>
                    <a:pt x="27544" y="105935"/>
                    <a:pt x="27544" y="105935"/>
                    <a:pt x="28708" y="104438"/>
                  </a:cubicBezTo>
                  <a:cubicBezTo>
                    <a:pt x="28708" y="104438"/>
                    <a:pt x="28708" y="104438"/>
                    <a:pt x="30106" y="102942"/>
                  </a:cubicBezTo>
                  <a:cubicBezTo>
                    <a:pt x="30106" y="102942"/>
                    <a:pt x="30106" y="102942"/>
                    <a:pt x="31270" y="102044"/>
                  </a:cubicBezTo>
                  <a:cubicBezTo>
                    <a:pt x="31270" y="102044"/>
                    <a:pt x="31270" y="102044"/>
                    <a:pt x="31736" y="100249"/>
                  </a:cubicBezTo>
                  <a:cubicBezTo>
                    <a:pt x="31736" y="100249"/>
                    <a:pt x="31736" y="100249"/>
                    <a:pt x="31969" y="97556"/>
                  </a:cubicBezTo>
                  <a:cubicBezTo>
                    <a:pt x="31969" y="97556"/>
                    <a:pt x="31969" y="97556"/>
                    <a:pt x="32434" y="95760"/>
                  </a:cubicBezTo>
                  <a:cubicBezTo>
                    <a:pt x="32434" y="95760"/>
                    <a:pt x="32434" y="95760"/>
                    <a:pt x="32667" y="95162"/>
                  </a:cubicBezTo>
                  <a:cubicBezTo>
                    <a:pt x="32667" y="95162"/>
                    <a:pt x="32667" y="95162"/>
                    <a:pt x="33832" y="93067"/>
                  </a:cubicBezTo>
                  <a:cubicBezTo>
                    <a:pt x="33832" y="93067"/>
                    <a:pt x="33832" y="93067"/>
                    <a:pt x="33133" y="93067"/>
                  </a:cubicBezTo>
                  <a:cubicBezTo>
                    <a:pt x="33133" y="93067"/>
                    <a:pt x="33133" y="93067"/>
                    <a:pt x="31969" y="93366"/>
                  </a:cubicBezTo>
                  <a:cubicBezTo>
                    <a:pt x="31969" y="93366"/>
                    <a:pt x="31969" y="93366"/>
                    <a:pt x="31270" y="93366"/>
                  </a:cubicBezTo>
                  <a:cubicBezTo>
                    <a:pt x="31270" y="93366"/>
                    <a:pt x="31270" y="93366"/>
                    <a:pt x="30106" y="93067"/>
                  </a:cubicBezTo>
                  <a:cubicBezTo>
                    <a:pt x="30106" y="93067"/>
                    <a:pt x="30106" y="93067"/>
                    <a:pt x="29640" y="92468"/>
                  </a:cubicBezTo>
                  <a:cubicBezTo>
                    <a:pt x="29640" y="92468"/>
                    <a:pt x="29640" y="92468"/>
                    <a:pt x="30804" y="90972"/>
                  </a:cubicBezTo>
                  <a:cubicBezTo>
                    <a:pt x="30804" y="90972"/>
                    <a:pt x="30804" y="90972"/>
                    <a:pt x="29640" y="91271"/>
                  </a:cubicBezTo>
                  <a:cubicBezTo>
                    <a:pt x="29640" y="91271"/>
                    <a:pt x="29640" y="91271"/>
                    <a:pt x="28941" y="92169"/>
                  </a:cubicBezTo>
                  <a:cubicBezTo>
                    <a:pt x="28941" y="92169"/>
                    <a:pt x="28941" y="92169"/>
                    <a:pt x="28475" y="94264"/>
                  </a:cubicBezTo>
                  <a:cubicBezTo>
                    <a:pt x="28475" y="94264"/>
                    <a:pt x="28475" y="94264"/>
                    <a:pt x="27777" y="95162"/>
                  </a:cubicBezTo>
                  <a:cubicBezTo>
                    <a:pt x="27777" y="95162"/>
                    <a:pt x="27777" y="95162"/>
                    <a:pt x="27544" y="94264"/>
                  </a:cubicBezTo>
                  <a:cubicBezTo>
                    <a:pt x="27544" y="94264"/>
                    <a:pt x="27544" y="94264"/>
                    <a:pt x="26845" y="93067"/>
                  </a:cubicBezTo>
                  <a:cubicBezTo>
                    <a:pt x="26845" y="93067"/>
                    <a:pt x="26845" y="93067"/>
                    <a:pt x="25681" y="91571"/>
                  </a:cubicBezTo>
                  <a:cubicBezTo>
                    <a:pt x="25681" y="91571"/>
                    <a:pt x="25681" y="91571"/>
                    <a:pt x="23818" y="90074"/>
                  </a:cubicBezTo>
                  <a:cubicBezTo>
                    <a:pt x="23818" y="90074"/>
                    <a:pt x="23818" y="90074"/>
                    <a:pt x="23352" y="90074"/>
                  </a:cubicBezTo>
                  <a:cubicBezTo>
                    <a:pt x="23352" y="90074"/>
                    <a:pt x="23352" y="90074"/>
                    <a:pt x="21722" y="91571"/>
                  </a:cubicBezTo>
                  <a:cubicBezTo>
                    <a:pt x="21722" y="91571"/>
                    <a:pt x="21722" y="91571"/>
                    <a:pt x="20790" y="91571"/>
                  </a:cubicBezTo>
                  <a:cubicBezTo>
                    <a:pt x="20790" y="91571"/>
                    <a:pt x="20790" y="91571"/>
                    <a:pt x="19393" y="91571"/>
                  </a:cubicBezTo>
                  <a:cubicBezTo>
                    <a:pt x="19393" y="91571"/>
                    <a:pt x="19393" y="91571"/>
                    <a:pt x="19626" y="87680"/>
                  </a:cubicBezTo>
                  <a:cubicBezTo>
                    <a:pt x="19626" y="87680"/>
                    <a:pt x="19626" y="87680"/>
                    <a:pt x="19859" y="86483"/>
                  </a:cubicBezTo>
                  <a:cubicBezTo>
                    <a:pt x="19859" y="86483"/>
                    <a:pt x="19859" y="86483"/>
                    <a:pt x="20557" y="85286"/>
                  </a:cubicBezTo>
                  <a:cubicBezTo>
                    <a:pt x="20557" y="85286"/>
                    <a:pt x="20557" y="85286"/>
                    <a:pt x="20557" y="83790"/>
                  </a:cubicBezTo>
                  <a:cubicBezTo>
                    <a:pt x="20557" y="83790"/>
                    <a:pt x="20557" y="83790"/>
                    <a:pt x="20324" y="81396"/>
                  </a:cubicBezTo>
                  <a:cubicBezTo>
                    <a:pt x="20324" y="81396"/>
                    <a:pt x="20324" y="81396"/>
                    <a:pt x="19859" y="79002"/>
                  </a:cubicBezTo>
                  <a:cubicBezTo>
                    <a:pt x="19859" y="79002"/>
                    <a:pt x="19859" y="79002"/>
                    <a:pt x="19393" y="79600"/>
                  </a:cubicBezTo>
                  <a:cubicBezTo>
                    <a:pt x="19393" y="79600"/>
                    <a:pt x="19393" y="79600"/>
                    <a:pt x="18461" y="80798"/>
                  </a:cubicBezTo>
                  <a:cubicBezTo>
                    <a:pt x="18461" y="80798"/>
                    <a:pt x="18461" y="80798"/>
                    <a:pt x="17763" y="81396"/>
                  </a:cubicBezTo>
                  <a:cubicBezTo>
                    <a:pt x="17763" y="81396"/>
                    <a:pt x="17763" y="81396"/>
                    <a:pt x="17064" y="81396"/>
                  </a:cubicBezTo>
                  <a:cubicBezTo>
                    <a:pt x="17064" y="81396"/>
                    <a:pt x="17064" y="81396"/>
                    <a:pt x="16365" y="80498"/>
                  </a:cubicBezTo>
                  <a:cubicBezTo>
                    <a:pt x="16365" y="80498"/>
                    <a:pt x="16365" y="80498"/>
                    <a:pt x="15900" y="80498"/>
                  </a:cubicBezTo>
                  <a:cubicBezTo>
                    <a:pt x="15900" y="80498"/>
                    <a:pt x="15900" y="80498"/>
                    <a:pt x="14968" y="79900"/>
                  </a:cubicBezTo>
                  <a:cubicBezTo>
                    <a:pt x="14968" y="79900"/>
                    <a:pt x="14968" y="79900"/>
                    <a:pt x="14269" y="79002"/>
                  </a:cubicBezTo>
                  <a:cubicBezTo>
                    <a:pt x="14269" y="79002"/>
                    <a:pt x="14269" y="79002"/>
                    <a:pt x="13571" y="78404"/>
                  </a:cubicBezTo>
                  <a:cubicBezTo>
                    <a:pt x="13571" y="78404"/>
                    <a:pt x="13571" y="78404"/>
                    <a:pt x="12872" y="77506"/>
                  </a:cubicBezTo>
                  <a:cubicBezTo>
                    <a:pt x="12872" y="77506"/>
                    <a:pt x="12872" y="77506"/>
                    <a:pt x="12639" y="76608"/>
                  </a:cubicBezTo>
                  <a:cubicBezTo>
                    <a:pt x="12639" y="76608"/>
                    <a:pt x="12639" y="76608"/>
                    <a:pt x="12406" y="74513"/>
                  </a:cubicBezTo>
                  <a:cubicBezTo>
                    <a:pt x="12406" y="74513"/>
                    <a:pt x="12406" y="74513"/>
                    <a:pt x="13338" y="73616"/>
                  </a:cubicBezTo>
                  <a:cubicBezTo>
                    <a:pt x="13338" y="73616"/>
                    <a:pt x="13338" y="73616"/>
                    <a:pt x="14269" y="73616"/>
                  </a:cubicBezTo>
                  <a:cubicBezTo>
                    <a:pt x="14269" y="73616"/>
                    <a:pt x="14269" y="73616"/>
                    <a:pt x="15434" y="73616"/>
                  </a:cubicBezTo>
                  <a:cubicBezTo>
                    <a:pt x="15434" y="73616"/>
                    <a:pt x="15434" y="73616"/>
                    <a:pt x="16598" y="74513"/>
                  </a:cubicBezTo>
                  <a:cubicBezTo>
                    <a:pt x="16598" y="74513"/>
                    <a:pt x="16598" y="74513"/>
                    <a:pt x="17064" y="73017"/>
                  </a:cubicBezTo>
                  <a:cubicBezTo>
                    <a:pt x="17064" y="73017"/>
                    <a:pt x="17064" y="73017"/>
                    <a:pt x="16365" y="72119"/>
                  </a:cubicBezTo>
                  <a:cubicBezTo>
                    <a:pt x="16365" y="72119"/>
                    <a:pt x="16365" y="72119"/>
                    <a:pt x="16132" y="72119"/>
                  </a:cubicBezTo>
                  <a:cubicBezTo>
                    <a:pt x="16132" y="72119"/>
                    <a:pt x="16132" y="72119"/>
                    <a:pt x="14968" y="72119"/>
                  </a:cubicBezTo>
                  <a:cubicBezTo>
                    <a:pt x="14968" y="72119"/>
                    <a:pt x="14968" y="72119"/>
                    <a:pt x="14269" y="72119"/>
                  </a:cubicBezTo>
                  <a:cubicBezTo>
                    <a:pt x="14269" y="72119"/>
                    <a:pt x="14269" y="72119"/>
                    <a:pt x="12872" y="70922"/>
                  </a:cubicBezTo>
                  <a:cubicBezTo>
                    <a:pt x="12872" y="70922"/>
                    <a:pt x="12872" y="70922"/>
                    <a:pt x="12406" y="69725"/>
                  </a:cubicBezTo>
                  <a:cubicBezTo>
                    <a:pt x="12406" y="69725"/>
                    <a:pt x="12406" y="69725"/>
                    <a:pt x="11941" y="68229"/>
                  </a:cubicBezTo>
                  <a:cubicBezTo>
                    <a:pt x="11941" y="68229"/>
                    <a:pt x="11941" y="68229"/>
                    <a:pt x="11475" y="66733"/>
                  </a:cubicBezTo>
                  <a:cubicBezTo>
                    <a:pt x="11475" y="66733"/>
                    <a:pt x="11475" y="66733"/>
                    <a:pt x="11475" y="66134"/>
                  </a:cubicBezTo>
                  <a:cubicBezTo>
                    <a:pt x="11475" y="66134"/>
                    <a:pt x="11475" y="66134"/>
                    <a:pt x="11941" y="65536"/>
                  </a:cubicBezTo>
                  <a:cubicBezTo>
                    <a:pt x="11941" y="65536"/>
                    <a:pt x="11941" y="65536"/>
                    <a:pt x="12639" y="64039"/>
                  </a:cubicBezTo>
                  <a:cubicBezTo>
                    <a:pt x="12639" y="64039"/>
                    <a:pt x="12639" y="64039"/>
                    <a:pt x="13804" y="62244"/>
                  </a:cubicBezTo>
                  <a:cubicBezTo>
                    <a:pt x="13804" y="62244"/>
                    <a:pt x="13804" y="62244"/>
                    <a:pt x="15201" y="61047"/>
                  </a:cubicBezTo>
                  <a:cubicBezTo>
                    <a:pt x="15201" y="61047"/>
                    <a:pt x="15201" y="61047"/>
                    <a:pt x="16132" y="59551"/>
                  </a:cubicBezTo>
                  <a:cubicBezTo>
                    <a:pt x="16132" y="59551"/>
                    <a:pt x="16132" y="59551"/>
                    <a:pt x="16365" y="58054"/>
                  </a:cubicBezTo>
                  <a:cubicBezTo>
                    <a:pt x="16365" y="58054"/>
                    <a:pt x="16365" y="58054"/>
                    <a:pt x="17530" y="56558"/>
                  </a:cubicBezTo>
                  <a:cubicBezTo>
                    <a:pt x="17530" y="56558"/>
                    <a:pt x="17530" y="56558"/>
                    <a:pt x="18461" y="56259"/>
                  </a:cubicBezTo>
                  <a:cubicBezTo>
                    <a:pt x="18461" y="56259"/>
                    <a:pt x="18461" y="56259"/>
                    <a:pt x="19160" y="56857"/>
                  </a:cubicBezTo>
                  <a:cubicBezTo>
                    <a:pt x="19160" y="56857"/>
                    <a:pt x="19160" y="56857"/>
                    <a:pt x="19859" y="58054"/>
                  </a:cubicBezTo>
                  <a:cubicBezTo>
                    <a:pt x="19859" y="58054"/>
                    <a:pt x="19859" y="58054"/>
                    <a:pt x="20324" y="58054"/>
                  </a:cubicBezTo>
                  <a:cubicBezTo>
                    <a:pt x="20324" y="58054"/>
                    <a:pt x="20324" y="58054"/>
                    <a:pt x="21256" y="58054"/>
                  </a:cubicBezTo>
                  <a:cubicBezTo>
                    <a:pt x="21256" y="58054"/>
                    <a:pt x="21256" y="58054"/>
                    <a:pt x="21722" y="58054"/>
                  </a:cubicBezTo>
                  <a:cubicBezTo>
                    <a:pt x="21722" y="58054"/>
                    <a:pt x="21722" y="58054"/>
                    <a:pt x="22420" y="56857"/>
                  </a:cubicBezTo>
                  <a:cubicBezTo>
                    <a:pt x="22420" y="56857"/>
                    <a:pt x="22420" y="56857"/>
                    <a:pt x="23119" y="56857"/>
                  </a:cubicBezTo>
                  <a:cubicBezTo>
                    <a:pt x="23119" y="56857"/>
                    <a:pt x="23119" y="56857"/>
                    <a:pt x="23352" y="56259"/>
                  </a:cubicBezTo>
                  <a:cubicBezTo>
                    <a:pt x="23352" y="56259"/>
                    <a:pt x="23352" y="56259"/>
                    <a:pt x="23818" y="55361"/>
                  </a:cubicBezTo>
                  <a:cubicBezTo>
                    <a:pt x="23818" y="55361"/>
                    <a:pt x="23818" y="55361"/>
                    <a:pt x="24050" y="56259"/>
                  </a:cubicBezTo>
                  <a:cubicBezTo>
                    <a:pt x="24050" y="56259"/>
                    <a:pt x="24050" y="56259"/>
                    <a:pt x="24749" y="56259"/>
                  </a:cubicBezTo>
                  <a:cubicBezTo>
                    <a:pt x="24749" y="56259"/>
                    <a:pt x="24749" y="56259"/>
                    <a:pt x="25215" y="56259"/>
                  </a:cubicBezTo>
                  <a:cubicBezTo>
                    <a:pt x="25215" y="56259"/>
                    <a:pt x="25215" y="56259"/>
                    <a:pt x="26147" y="56259"/>
                  </a:cubicBezTo>
                  <a:cubicBezTo>
                    <a:pt x="26147" y="56259"/>
                    <a:pt x="26147" y="56259"/>
                    <a:pt x="26845" y="55361"/>
                  </a:cubicBezTo>
                  <a:cubicBezTo>
                    <a:pt x="26845" y="55361"/>
                    <a:pt x="26845" y="55361"/>
                    <a:pt x="27544" y="55361"/>
                  </a:cubicBezTo>
                  <a:cubicBezTo>
                    <a:pt x="27544" y="55361"/>
                    <a:pt x="27544" y="55361"/>
                    <a:pt x="27777" y="53266"/>
                  </a:cubicBezTo>
                  <a:cubicBezTo>
                    <a:pt x="27777" y="53266"/>
                    <a:pt x="27777" y="53266"/>
                    <a:pt x="27311" y="51770"/>
                  </a:cubicBezTo>
                  <a:cubicBezTo>
                    <a:pt x="27311" y="51770"/>
                    <a:pt x="27311" y="51770"/>
                    <a:pt x="26845" y="49376"/>
                  </a:cubicBezTo>
                  <a:cubicBezTo>
                    <a:pt x="26845" y="49376"/>
                    <a:pt x="26845" y="49376"/>
                    <a:pt x="27777" y="49376"/>
                  </a:cubicBezTo>
                  <a:cubicBezTo>
                    <a:pt x="27777" y="49376"/>
                    <a:pt x="27777" y="49376"/>
                    <a:pt x="28708" y="48179"/>
                  </a:cubicBezTo>
                  <a:cubicBezTo>
                    <a:pt x="28708" y="48179"/>
                    <a:pt x="28708" y="48179"/>
                    <a:pt x="28475" y="46383"/>
                  </a:cubicBezTo>
                  <a:cubicBezTo>
                    <a:pt x="28475" y="46383"/>
                    <a:pt x="28475" y="46383"/>
                    <a:pt x="27078" y="46084"/>
                  </a:cubicBezTo>
                  <a:cubicBezTo>
                    <a:pt x="27078" y="46084"/>
                    <a:pt x="27078" y="46084"/>
                    <a:pt x="26379" y="46084"/>
                  </a:cubicBezTo>
                  <a:cubicBezTo>
                    <a:pt x="26379" y="46084"/>
                    <a:pt x="26379" y="46084"/>
                    <a:pt x="25681" y="46383"/>
                  </a:cubicBezTo>
                  <a:cubicBezTo>
                    <a:pt x="25681" y="46383"/>
                    <a:pt x="25681" y="46383"/>
                    <a:pt x="24982" y="46982"/>
                  </a:cubicBezTo>
                  <a:cubicBezTo>
                    <a:pt x="24982" y="46982"/>
                    <a:pt x="24982" y="46982"/>
                    <a:pt x="24516" y="48179"/>
                  </a:cubicBezTo>
                  <a:cubicBezTo>
                    <a:pt x="24516" y="48179"/>
                    <a:pt x="24516" y="48179"/>
                    <a:pt x="23818" y="48179"/>
                  </a:cubicBezTo>
                  <a:cubicBezTo>
                    <a:pt x="23818" y="48179"/>
                    <a:pt x="23818" y="48179"/>
                    <a:pt x="23119" y="46383"/>
                  </a:cubicBezTo>
                  <a:cubicBezTo>
                    <a:pt x="23119" y="46383"/>
                    <a:pt x="23119" y="46383"/>
                    <a:pt x="21256" y="46383"/>
                  </a:cubicBezTo>
                  <a:cubicBezTo>
                    <a:pt x="21256" y="46383"/>
                    <a:pt x="21256" y="46383"/>
                    <a:pt x="19160" y="46383"/>
                  </a:cubicBezTo>
                  <a:cubicBezTo>
                    <a:pt x="19160" y="46383"/>
                    <a:pt x="19160" y="46383"/>
                    <a:pt x="17530" y="45785"/>
                  </a:cubicBezTo>
                  <a:cubicBezTo>
                    <a:pt x="17530" y="45785"/>
                    <a:pt x="17530" y="45785"/>
                    <a:pt x="15900" y="44887"/>
                  </a:cubicBezTo>
                  <a:cubicBezTo>
                    <a:pt x="15900" y="44887"/>
                    <a:pt x="15900" y="44887"/>
                    <a:pt x="14968" y="43391"/>
                  </a:cubicBezTo>
                  <a:cubicBezTo>
                    <a:pt x="14968" y="43391"/>
                    <a:pt x="14968" y="43391"/>
                    <a:pt x="14735" y="40399"/>
                  </a:cubicBezTo>
                  <a:cubicBezTo>
                    <a:pt x="14735" y="40399"/>
                    <a:pt x="14735" y="40399"/>
                    <a:pt x="15900" y="39800"/>
                  </a:cubicBezTo>
                  <a:cubicBezTo>
                    <a:pt x="15900" y="39800"/>
                    <a:pt x="15900" y="39800"/>
                    <a:pt x="16598" y="39201"/>
                  </a:cubicBezTo>
                  <a:cubicBezTo>
                    <a:pt x="16598" y="39201"/>
                    <a:pt x="16598" y="39201"/>
                    <a:pt x="14968" y="38304"/>
                  </a:cubicBezTo>
                  <a:cubicBezTo>
                    <a:pt x="14968" y="38304"/>
                    <a:pt x="14968" y="38304"/>
                    <a:pt x="14036" y="37406"/>
                  </a:cubicBezTo>
                  <a:cubicBezTo>
                    <a:pt x="14036" y="37406"/>
                    <a:pt x="14036" y="37406"/>
                    <a:pt x="12872" y="36209"/>
                  </a:cubicBezTo>
                  <a:cubicBezTo>
                    <a:pt x="12872" y="36209"/>
                    <a:pt x="12872" y="36209"/>
                    <a:pt x="12639" y="35610"/>
                  </a:cubicBezTo>
                  <a:cubicBezTo>
                    <a:pt x="12639" y="35610"/>
                    <a:pt x="12639" y="35610"/>
                    <a:pt x="13571" y="34713"/>
                  </a:cubicBezTo>
                  <a:cubicBezTo>
                    <a:pt x="13571" y="34713"/>
                    <a:pt x="13571" y="34713"/>
                    <a:pt x="14269" y="34713"/>
                  </a:cubicBezTo>
                  <a:cubicBezTo>
                    <a:pt x="14269" y="34713"/>
                    <a:pt x="14269" y="34713"/>
                    <a:pt x="15667" y="34413"/>
                  </a:cubicBezTo>
                  <a:cubicBezTo>
                    <a:pt x="15667" y="34413"/>
                    <a:pt x="15667" y="34413"/>
                    <a:pt x="17530" y="32917"/>
                  </a:cubicBezTo>
                  <a:cubicBezTo>
                    <a:pt x="17530" y="32917"/>
                    <a:pt x="17530" y="32917"/>
                    <a:pt x="17763" y="33516"/>
                  </a:cubicBezTo>
                  <a:cubicBezTo>
                    <a:pt x="17763" y="33516"/>
                    <a:pt x="17763" y="33516"/>
                    <a:pt x="18927" y="32917"/>
                  </a:cubicBezTo>
                  <a:cubicBezTo>
                    <a:pt x="18927" y="32917"/>
                    <a:pt x="18927" y="32917"/>
                    <a:pt x="18927" y="32618"/>
                  </a:cubicBezTo>
                  <a:cubicBezTo>
                    <a:pt x="18927" y="32618"/>
                    <a:pt x="18927" y="32618"/>
                    <a:pt x="19626" y="32319"/>
                  </a:cubicBezTo>
                  <a:cubicBezTo>
                    <a:pt x="19626" y="32319"/>
                    <a:pt x="19626" y="32319"/>
                    <a:pt x="21023" y="32019"/>
                  </a:cubicBezTo>
                  <a:cubicBezTo>
                    <a:pt x="21023" y="32019"/>
                    <a:pt x="21023" y="32019"/>
                    <a:pt x="22653" y="32019"/>
                  </a:cubicBezTo>
                  <a:cubicBezTo>
                    <a:pt x="22653" y="32019"/>
                    <a:pt x="22653" y="32019"/>
                    <a:pt x="23352" y="32618"/>
                  </a:cubicBezTo>
                  <a:cubicBezTo>
                    <a:pt x="23352" y="32618"/>
                    <a:pt x="23352" y="32618"/>
                    <a:pt x="22886" y="34114"/>
                  </a:cubicBezTo>
                  <a:cubicBezTo>
                    <a:pt x="22886" y="34114"/>
                    <a:pt x="22886" y="34114"/>
                    <a:pt x="22886" y="34713"/>
                  </a:cubicBezTo>
                  <a:cubicBezTo>
                    <a:pt x="22886" y="34713"/>
                    <a:pt x="22886" y="34713"/>
                    <a:pt x="23585" y="35311"/>
                  </a:cubicBezTo>
                  <a:cubicBezTo>
                    <a:pt x="23585" y="35311"/>
                    <a:pt x="23585" y="35311"/>
                    <a:pt x="24283" y="36209"/>
                  </a:cubicBezTo>
                  <a:cubicBezTo>
                    <a:pt x="24283" y="36209"/>
                    <a:pt x="24283" y="36209"/>
                    <a:pt x="25681" y="36209"/>
                  </a:cubicBezTo>
                  <a:cubicBezTo>
                    <a:pt x="25681" y="36209"/>
                    <a:pt x="25681" y="36209"/>
                    <a:pt x="27544" y="36808"/>
                  </a:cubicBezTo>
                  <a:cubicBezTo>
                    <a:pt x="27544" y="36808"/>
                    <a:pt x="27544" y="36808"/>
                    <a:pt x="28941" y="35910"/>
                  </a:cubicBezTo>
                  <a:cubicBezTo>
                    <a:pt x="28941" y="35910"/>
                    <a:pt x="28941" y="35910"/>
                    <a:pt x="29873" y="34713"/>
                  </a:cubicBezTo>
                  <a:cubicBezTo>
                    <a:pt x="29873" y="34713"/>
                    <a:pt x="29873" y="34713"/>
                    <a:pt x="31037" y="33815"/>
                  </a:cubicBezTo>
                  <a:cubicBezTo>
                    <a:pt x="31037" y="33815"/>
                    <a:pt x="30106" y="33216"/>
                    <a:pt x="29873" y="33216"/>
                  </a:cubicBezTo>
                  <a:cubicBezTo>
                    <a:pt x="29407" y="33216"/>
                    <a:pt x="28941" y="32618"/>
                    <a:pt x="28941" y="32618"/>
                  </a:cubicBezTo>
                  <a:cubicBezTo>
                    <a:pt x="28941" y="32618"/>
                    <a:pt x="28941" y="32618"/>
                    <a:pt x="28243" y="32019"/>
                  </a:cubicBezTo>
                  <a:cubicBezTo>
                    <a:pt x="28243" y="32019"/>
                    <a:pt x="28243" y="32019"/>
                    <a:pt x="28243" y="30822"/>
                  </a:cubicBezTo>
                  <a:cubicBezTo>
                    <a:pt x="28243" y="30822"/>
                    <a:pt x="28243" y="30822"/>
                    <a:pt x="28010" y="29326"/>
                  </a:cubicBezTo>
                  <a:cubicBezTo>
                    <a:pt x="28010" y="29326"/>
                    <a:pt x="28010" y="29326"/>
                    <a:pt x="24516" y="28129"/>
                  </a:cubicBezTo>
                  <a:cubicBezTo>
                    <a:pt x="24516" y="28129"/>
                    <a:pt x="24516" y="28129"/>
                    <a:pt x="24516" y="23640"/>
                  </a:cubicBezTo>
                  <a:cubicBezTo>
                    <a:pt x="24516" y="23640"/>
                    <a:pt x="24516" y="23640"/>
                    <a:pt x="22886" y="21546"/>
                  </a:cubicBezTo>
                  <a:cubicBezTo>
                    <a:pt x="22886" y="21546"/>
                    <a:pt x="22886" y="21546"/>
                    <a:pt x="19626" y="17057"/>
                  </a:cubicBezTo>
                  <a:cubicBezTo>
                    <a:pt x="19626" y="17057"/>
                    <a:pt x="19626" y="17057"/>
                    <a:pt x="20091" y="17057"/>
                  </a:cubicBezTo>
                  <a:cubicBezTo>
                    <a:pt x="20091" y="17057"/>
                    <a:pt x="20091" y="17057"/>
                    <a:pt x="20091" y="16159"/>
                  </a:cubicBezTo>
                  <a:cubicBezTo>
                    <a:pt x="20091" y="16159"/>
                    <a:pt x="20091" y="16159"/>
                    <a:pt x="21256" y="16159"/>
                  </a:cubicBezTo>
                  <a:cubicBezTo>
                    <a:pt x="21256" y="16159"/>
                    <a:pt x="21256" y="16159"/>
                    <a:pt x="21256" y="14962"/>
                  </a:cubicBezTo>
                  <a:cubicBezTo>
                    <a:pt x="21256" y="14962"/>
                    <a:pt x="21256" y="14962"/>
                    <a:pt x="21489" y="13466"/>
                  </a:cubicBezTo>
                  <a:cubicBezTo>
                    <a:pt x="21489" y="13466"/>
                    <a:pt x="21489" y="13466"/>
                    <a:pt x="22187" y="13466"/>
                  </a:cubicBezTo>
                  <a:cubicBezTo>
                    <a:pt x="22187" y="13466"/>
                    <a:pt x="22187" y="13466"/>
                    <a:pt x="22886" y="14064"/>
                  </a:cubicBezTo>
                  <a:cubicBezTo>
                    <a:pt x="22886" y="14064"/>
                    <a:pt x="22886" y="14064"/>
                    <a:pt x="24050" y="14064"/>
                  </a:cubicBezTo>
                  <a:cubicBezTo>
                    <a:pt x="24050" y="14064"/>
                    <a:pt x="24050" y="14064"/>
                    <a:pt x="24516" y="14064"/>
                  </a:cubicBezTo>
                  <a:cubicBezTo>
                    <a:pt x="24516" y="14064"/>
                    <a:pt x="24516" y="14064"/>
                    <a:pt x="25681" y="14064"/>
                  </a:cubicBezTo>
                  <a:cubicBezTo>
                    <a:pt x="25681" y="14064"/>
                    <a:pt x="25681" y="14064"/>
                    <a:pt x="27777" y="13166"/>
                  </a:cubicBezTo>
                  <a:cubicBezTo>
                    <a:pt x="27777" y="13166"/>
                    <a:pt x="27777" y="13166"/>
                    <a:pt x="28475" y="12269"/>
                  </a:cubicBezTo>
                  <a:cubicBezTo>
                    <a:pt x="28475" y="12269"/>
                    <a:pt x="28475" y="12269"/>
                    <a:pt x="29174" y="10773"/>
                  </a:cubicBezTo>
                  <a:cubicBezTo>
                    <a:pt x="29174" y="10773"/>
                    <a:pt x="29174" y="10773"/>
                    <a:pt x="29174" y="8379"/>
                  </a:cubicBezTo>
                  <a:cubicBezTo>
                    <a:pt x="29174" y="8379"/>
                    <a:pt x="29174" y="8379"/>
                    <a:pt x="29873" y="8379"/>
                  </a:cubicBezTo>
                  <a:cubicBezTo>
                    <a:pt x="29873" y="8379"/>
                    <a:pt x="29873" y="8379"/>
                    <a:pt x="30571" y="7481"/>
                  </a:cubicBezTo>
                  <a:cubicBezTo>
                    <a:pt x="30571" y="7481"/>
                    <a:pt x="30571" y="7481"/>
                    <a:pt x="31969" y="5984"/>
                  </a:cubicBezTo>
                  <a:cubicBezTo>
                    <a:pt x="31969" y="5984"/>
                    <a:pt x="31969" y="5984"/>
                    <a:pt x="34530" y="5386"/>
                  </a:cubicBezTo>
                  <a:cubicBezTo>
                    <a:pt x="34530" y="5386"/>
                    <a:pt x="34530" y="5386"/>
                    <a:pt x="35462" y="3890"/>
                  </a:cubicBezTo>
                  <a:cubicBezTo>
                    <a:pt x="35462" y="3890"/>
                    <a:pt x="35462" y="3890"/>
                    <a:pt x="36393" y="3291"/>
                  </a:cubicBezTo>
                  <a:cubicBezTo>
                    <a:pt x="36393" y="3291"/>
                    <a:pt x="36393" y="3291"/>
                    <a:pt x="37092" y="2393"/>
                  </a:cubicBezTo>
                  <a:cubicBezTo>
                    <a:pt x="37092" y="2393"/>
                    <a:pt x="37092" y="2393"/>
                    <a:pt x="40818" y="2693"/>
                  </a:cubicBezTo>
                  <a:cubicBezTo>
                    <a:pt x="40818" y="2693"/>
                    <a:pt x="40818" y="2693"/>
                    <a:pt x="41284" y="1197"/>
                  </a:cubicBezTo>
                  <a:cubicBezTo>
                    <a:pt x="41284" y="1197"/>
                    <a:pt x="41284" y="1197"/>
                    <a:pt x="43147" y="0"/>
                  </a:cubicBezTo>
                  <a:close/>
                </a:path>
              </a:pathLst>
            </a:custGeom>
            <a:solidFill>
              <a:schemeClr val="accent2"/>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sp>
          <p:nvSpPr>
            <p:cNvPr id="60" name="Shape 1437">
              <a:extLst>
                <a:ext uri="{FF2B5EF4-FFF2-40B4-BE49-F238E27FC236}">
                  <a16:creationId xmlns:a16="http://schemas.microsoft.com/office/drawing/2014/main" id="{19C1CDA0-B944-8C14-B2FC-569C5E4FDA2D}"/>
                </a:ext>
              </a:extLst>
            </p:cNvPr>
            <p:cNvSpPr/>
            <p:nvPr/>
          </p:nvSpPr>
          <p:spPr>
            <a:xfrm>
              <a:off x="5957637" y="3282926"/>
              <a:ext cx="448593" cy="285010"/>
            </a:xfrm>
            <a:custGeom>
              <a:avLst/>
              <a:gdLst/>
              <a:ahLst/>
              <a:cxnLst/>
              <a:rect l="0" t="0" r="0" b="0"/>
              <a:pathLst>
                <a:path w="120000" h="120000" extrusionOk="0">
                  <a:moveTo>
                    <a:pt x="95419" y="71716"/>
                  </a:moveTo>
                  <a:cubicBezTo>
                    <a:pt x="96188" y="71716"/>
                    <a:pt x="96188" y="71716"/>
                    <a:pt x="96188" y="71716"/>
                  </a:cubicBezTo>
                  <a:cubicBezTo>
                    <a:pt x="97724" y="71716"/>
                    <a:pt x="97724" y="71716"/>
                    <a:pt x="97724" y="71716"/>
                  </a:cubicBezTo>
                  <a:cubicBezTo>
                    <a:pt x="100028" y="74100"/>
                    <a:pt x="100028" y="74100"/>
                    <a:pt x="100028" y="74100"/>
                  </a:cubicBezTo>
                  <a:cubicBezTo>
                    <a:pt x="101948" y="77080"/>
                    <a:pt x="101948" y="77080"/>
                    <a:pt x="101948" y="77080"/>
                  </a:cubicBezTo>
                  <a:cubicBezTo>
                    <a:pt x="101948" y="77080"/>
                    <a:pt x="103101" y="77677"/>
                    <a:pt x="103485" y="77677"/>
                  </a:cubicBezTo>
                  <a:cubicBezTo>
                    <a:pt x="103869" y="77677"/>
                    <a:pt x="104253" y="77677"/>
                    <a:pt x="104637" y="77677"/>
                  </a:cubicBezTo>
                  <a:cubicBezTo>
                    <a:pt x="105021" y="77677"/>
                    <a:pt x="106557" y="77677"/>
                    <a:pt x="106557" y="77677"/>
                  </a:cubicBezTo>
                  <a:cubicBezTo>
                    <a:pt x="110398" y="80061"/>
                    <a:pt x="110398" y="80061"/>
                    <a:pt x="110398" y="80061"/>
                  </a:cubicBezTo>
                  <a:cubicBezTo>
                    <a:pt x="112702" y="83042"/>
                    <a:pt x="112702" y="83042"/>
                    <a:pt x="112702" y="83042"/>
                  </a:cubicBezTo>
                  <a:cubicBezTo>
                    <a:pt x="112702" y="85426"/>
                    <a:pt x="112702" y="85426"/>
                    <a:pt x="112702" y="85426"/>
                  </a:cubicBezTo>
                  <a:cubicBezTo>
                    <a:pt x="113470" y="90791"/>
                    <a:pt x="113470" y="90791"/>
                    <a:pt x="113470" y="90791"/>
                  </a:cubicBezTo>
                  <a:cubicBezTo>
                    <a:pt x="114623" y="90791"/>
                    <a:pt x="114623" y="90791"/>
                    <a:pt x="114623" y="90791"/>
                  </a:cubicBezTo>
                  <a:cubicBezTo>
                    <a:pt x="115391" y="90791"/>
                    <a:pt x="115391" y="90791"/>
                    <a:pt x="115391" y="90791"/>
                  </a:cubicBezTo>
                  <a:cubicBezTo>
                    <a:pt x="115391" y="94367"/>
                    <a:pt x="115391" y="94367"/>
                    <a:pt x="115391" y="94367"/>
                  </a:cubicBezTo>
                  <a:cubicBezTo>
                    <a:pt x="116543" y="94367"/>
                    <a:pt x="116543" y="94367"/>
                    <a:pt x="116543" y="94367"/>
                  </a:cubicBezTo>
                  <a:cubicBezTo>
                    <a:pt x="118079" y="96752"/>
                    <a:pt x="118079" y="96752"/>
                    <a:pt x="118079" y="96752"/>
                  </a:cubicBezTo>
                  <a:cubicBezTo>
                    <a:pt x="120000" y="96752"/>
                    <a:pt x="120000" y="96752"/>
                    <a:pt x="120000" y="96752"/>
                  </a:cubicBezTo>
                  <a:cubicBezTo>
                    <a:pt x="118079" y="100924"/>
                    <a:pt x="118079" y="100924"/>
                    <a:pt x="118079" y="100924"/>
                  </a:cubicBezTo>
                  <a:cubicBezTo>
                    <a:pt x="116543" y="102117"/>
                    <a:pt x="116543" y="102117"/>
                    <a:pt x="116543" y="102117"/>
                  </a:cubicBezTo>
                  <a:cubicBezTo>
                    <a:pt x="114623" y="107482"/>
                    <a:pt x="114623" y="107482"/>
                    <a:pt x="114623" y="107482"/>
                  </a:cubicBezTo>
                  <a:cubicBezTo>
                    <a:pt x="112318" y="108674"/>
                    <a:pt x="112318" y="108674"/>
                    <a:pt x="112318" y="108674"/>
                  </a:cubicBezTo>
                  <a:cubicBezTo>
                    <a:pt x="107709" y="108674"/>
                    <a:pt x="107709" y="108674"/>
                    <a:pt x="107709" y="108674"/>
                  </a:cubicBezTo>
                  <a:cubicBezTo>
                    <a:pt x="106941" y="110462"/>
                    <a:pt x="106941" y="110462"/>
                    <a:pt x="106941" y="110462"/>
                  </a:cubicBezTo>
                  <a:cubicBezTo>
                    <a:pt x="103869" y="110462"/>
                    <a:pt x="103869" y="110462"/>
                    <a:pt x="103869" y="110462"/>
                  </a:cubicBezTo>
                  <a:cubicBezTo>
                    <a:pt x="103101" y="114635"/>
                    <a:pt x="103101" y="114635"/>
                    <a:pt x="103101" y="114635"/>
                  </a:cubicBezTo>
                  <a:cubicBezTo>
                    <a:pt x="102717" y="117615"/>
                    <a:pt x="102717" y="117615"/>
                    <a:pt x="102717" y="117615"/>
                  </a:cubicBezTo>
                  <a:cubicBezTo>
                    <a:pt x="101948" y="118808"/>
                    <a:pt x="101948" y="118808"/>
                    <a:pt x="101948" y="118808"/>
                  </a:cubicBezTo>
                  <a:cubicBezTo>
                    <a:pt x="101180" y="120000"/>
                    <a:pt x="101180" y="120000"/>
                    <a:pt x="101180" y="120000"/>
                  </a:cubicBezTo>
                  <a:cubicBezTo>
                    <a:pt x="100028" y="120000"/>
                    <a:pt x="100028" y="120000"/>
                    <a:pt x="100028" y="120000"/>
                  </a:cubicBezTo>
                  <a:cubicBezTo>
                    <a:pt x="98876" y="117019"/>
                    <a:pt x="98876" y="117019"/>
                    <a:pt x="98876" y="117019"/>
                  </a:cubicBezTo>
                  <a:cubicBezTo>
                    <a:pt x="96188" y="115231"/>
                    <a:pt x="96188" y="115231"/>
                    <a:pt x="96188" y="115231"/>
                  </a:cubicBezTo>
                  <a:cubicBezTo>
                    <a:pt x="94651" y="112846"/>
                    <a:pt x="94651" y="112846"/>
                    <a:pt x="94651" y="112846"/>
                  </a:cubicBezTo>
                  <a:cubicBezTo>
                    <a:pt x="94651" y="111654"/>
                    <a:pt x="94651" y="111654"/>
                    <a:pt x="94651" y="111654"/>
                  </a:cubicBezTo>
                  <a:cubicBezTo>
                    <a:pt x="94651" y="109866"/>
                    <a:pt x="94651" y="109866"/>
                    <a:pt x="94651" y="109866"/>
                  </a:cubicBezTo>
                  <a:cubicBezTo>
                    <a:pt x="94651" y="107482"/>
                    <a:pt x="94651" y="107482"/>
                    <a:pt x="94651" y="107482"/>
                  </a:cubicBezTo>
                  <a:cubicBezTo>
                    <a:pt x="94651" y="106289"/>
                    <a:pt x="94651" y="106289"/>
                    <a:pt x="94651" y="106289"/>
                  </a:cubicBezTo>
                  <a:cubicBezTo>
                    <a:pt x="94651" y="101521"/>
                    <a:pt x="94651" y="101521"/>
                    <a:pt x="94651" y="101521"/>
                  </a:cubicBezTo>
                  <a:cubicBezTo>
                    <a:pt x="94651" y="100328"/>
                    <a:pt x="94651" y="100328"/>
                    <a:pt x="94651" y="100328"/>
                  </a:cubicBezTo>
                  <a:cubicBezTo>
                    <a:pt x="94651" y="97348"/>
                    <a:pt x="94651" y="97348"/>
                    <a:pt x="94651" y="97348"/>
                  </a:cubicBezTo>
                  <a:cubicBezTo>
                    <a:pt x="92731" y="93175"/>
                    <a:pt x="92731" y="93175"/>
                    <a:pt x="92731" y="93175"/>
                  </a:cubicBezTo>
                  <a:cubicBezTo>
                    <a:pt x="91579" y="91387"/>
                    <a:pt x="91579" y="91387"/>
                    <a:pt x="91579" y="91387"/>
                  </a:cubicBezTo>
                  <a:cubicBezTo>
                    <a:pt x="91579" y="89598"/>
                    <a:pt x="91579" y="89598"/>
                    <a:pt x="91579" y="89598"/>
                  </a:cubicBezTo>
                  <a:cubicBezTo>
                    <a:pt x="91579" y="88406"/>
                    <a:pt x="91579" y="88406"/>
                    <a:pt x="91579" y="88406"/>
                  </a:cubicBezTo>
                  <a:cubicBezTo>
                    <a:pt x="92731" y="86022"/>
                    <a:pt x="92731" y="86022"/>
                    <a:pt x="92731" y="86022"/>
                  </a:cubicBezTo>
                  <a:cubicBezTo>
                    <a:pt x="94651" y="85426"/>
                    <a:pt x="94651" y="85426"/>
                    <a:pt x="94651" y="85426"/>
                  </a:cubicBezTo>
                  <a:cubicBezTo>
                    <a:pt x="96188" y="83042"/>
                    <a:pt x="96188" y="83042"/>
                    <a:pt x="96188" y="83042"/>
                  </a:cubicBezTo>
                  <a:lnTo>
                    <a:pt x="96188" y="80061"/>
                  </a:lnTo>
                  <a:cubicBezTo>
                    <a:pt x="95419" y="74696"/>
                    <a:pt x="95419" y="74696"/>
                    <a:pt x="95419" y="74696"/>
                  </a:cubicBezTo>
                  <a:cubicBezTo>
                    <a:pt x="95419" y="73504"/>
                    <a:pt x="95419" y="73504"/>
                    <a:pt x="95419" y="73504"/>
                  </a:cubicBezTo>
                  <a:cubicBezTo>
                    <a:pt x="95419" y="71716"/>
                    <a:pt x="95419" y="71716"/>
                    <a:pt x="95419" y="71716"/>
                  </a:cubicBezTo>
                  <a:close/>
                  <a:moveTo>
                    <a:pt x="70375" y="46863"/>
                  </a:moveTo>
                  <a:lnTo>
                    <a:pt x="71729" y="46863"/>
                  </a:lnTo>
                  <a:lnTo>
                    <a:pt x="72631" y="46863"/>
                  </a:lnTo>
                  <a:lnTo>
                    <a:pt x="73533" y="48283"/>
                  </a:lnTo>
                  <a:lnTo>
                    <a:pt x="74435" y="50413"/>
                  </a:lnTo>
                  <a:lnTo>
                    <a:pt x="74435" y="52544"/>
                  </a:lnTo>
                  <a:lnTo>
                    <a:pt x="72631" y="53964"/>
                  </a:lnTo>
                  <a:lnTo>
                    <a:pt x="71729" y="52544"/>
                  </a:lnTo>
                  <a:lnTo>
                    <a:pt x="71729" y="50413"/>
                  </a:lnTo>
                  <a:lnTo>
                    <a:pt x="70375" y="48993"/>
                  </a:lnTo>
                  <a:lnTo>
                    <a:pt x="70375" y="48283"/>
                  </a:lnTo>
                  <a:close/>
                  <a:moveTo>
                    <a:pt x="78947" y="43313"/>
                  </a:moveTo>
                  <a:lnTo>
                    <a:pt x="80300" y="43313"/>
                  </a:lnTo>
                  <a:lnTo>
                    <a:pt x="81654" y="45443"/>
                  </a:lnTo>
                  <a:lnTo>
                    <a:pt x="82556" y="46863"/>
                  </a:lnTo>
                  <a:lnTo>
                    <a:pt x="84361" y="48283"/>
                  </a:lnTo>
                  <a:lnTo>
                    <a:pt x="84361" y="46863"/>
                  </a:lnTo>
                  <a:lnTo>
                    <a:pt x="86616" y="46863"/>
                  </a:lnTo>
                  <a:lnTo>
                    <a:pt x="87969" y="46863"/>
                  </a:lnTo>
                  <a:lnTo>
                    <a:pt x="89774" y="48994"/>
                  </a:lnTo>
                  <a:lnTo>
                    <a:pt x="92932" y="52544"/>
                  </a:lnTo>
                  <a:lnTo>
                    <a:pt x="92932" y="56094"/>
                  </a:lnTo>
                  <a:lnTo>
                    <a:pt x="91578" y="58224"/>
                  </a:lnTo>
                  <a:lnTo>
                    <a:pt x="90225" y="58224"/>
                  </a:lnTo>
                  <a:lnTo>
                    <a:pt x="88872" y="58224"/>
                  </a:lnTo>
                  <a:lnTo>
                    <a:pt x="88872" y="58934"/>
                  </a:lnTo>
                  <a:lnTo>
                    <a:pt x="85714" y="58934"/>
                  </a:lnTo>
                  <a:lnTo>
                    <a:pt x="84361" y="58934"/>
                  </a:lnTo>
                  <a:lnTo>
                    <a:pt x="83909" y="58934"/>
                  </a:lnTo>
                  <a:lnTo>
                    <a:pt x="83007" y="56804"/>
                  </a:lnTo>
                  <a:lnTo>
                    <a:pt x="82556" y="53964"/>
                  </a:lnTo>
                  <a:lnTo>
                    <a:pt x="83007" y="51124"/>
                  </a:lnTo>
                  <a:lnTo>
                    <a:pt x="80751" y="51124"/>
                  </a:lnTo>
                  <a:lnTo>
                    <a:pt x="78947" y="50413"/>
                  </a:lnTo>
                  <a:lnTo>
                    <a:pt x="78947" y="48283"/>
                  </a:lnTo>
                  <a:lnTo>
                    <a:pt x="78947" y="46863"/>
                  </a:lnTo>
                  <a:lnTo>
                    <a:pt x="78947" y="44733"/>
                  </a:lnTo>
                  <a:close/>
                  <a:moveTo>
                    <a:pt x="65864" y="37633"/>
                  </a:moveTo>
                  <a:lnTo>
                    <a:pt x="66766" y="37633"/>
                  </a:lnTo>
                  <a:lnTo>
                    <a:pt x="69473" y="37633"/>
                  </a:lnTo>
                  <a:lnTo>
                    <a:pt x="71728" y="37633"/>
                  </a:lnTo>
                  <a:lnTo>
                    <a:pt x="72179" y="40473"/>
                  </a:lnTo>
                  <a:lnTo>
                    <a:pt x="77142" y="40473"/>
                  </a:lnTo>
                  <a:lnTo>
                    <a:pt x="74886" y="42603"/>
                  </a:lnTo>
                  <a:lnTo>
                    <a:pt x="74435" y="43313"/>
                  </a:lnTo>
                  <a:lnTo>
                    <a:pt x="74435" y="41893"/>
                  </a:lnTo>
                  <a:lnTo>
                    <a:pt x="73082" y="41893"/>
                  </a:lnTo>
                  <a:lnTo>
                    <a:pt x="72179" y="41893"/>
                  </a:lnTo>
                  <a:lnTo>
                    <a:pt x="70826" y="41893"/>
                  </a:lnTo>
                  <a:lnTo>
                    <a:pt x="69924" y="41893"/>
                  </a:lnTo>
                  <a:lnTo>
                    <a:pt x="69022" y="41893"/>
                  </a:lnTo>
                  <a:lnTo>
                    <a:pt x="67668" y="41893"/>
                  </a:lnTo>
                  <a:lnTo>
                    <a:pt x="65864" y="41183"/>
                  </a:lnTo>
                  <a:lnTo>
                    <a:pt x="65864" y="40473"/>
                  </a:lnTo>
                  <a:lnTo>
                    <a:pt x="65864" y="39053"/>
                  </a:lnTo>
                  <a:close/>
                  <a:moveTo>
                    <a:pt x="47819" y="20591"/>
                  </a:moveTo>
                  <a:lnTo>
                    <a:pt x="49623" y="20591"/>
                  </a:lnTo>
                  <a:lnTo>
                    <a:pt x="50526" y="20591"/>
                  </a:lnTo>
                  <a:lnTo>
                    <a:pt x="51428" y="21301"/>
                  </a:lnTo>
                  <a:lnTo>
                    <a:pt x="51879" y="22721"/>
                  </a:lnTo>
                  <a:lnTo>
                    <a:pt x="53232" y="26272"/>
                  </a:lnTo>
                  <a:lnTo>
                    <a:pt x="54586" y="26272"/>
                  </a:lnTo>
                  <a:lnTo>
                    <a:pt x="55488" y="29822"/>
                  </a:lnTo>
                  <a:lnTo>
                    <a:pt x="55488" y="32662"/>
                  </a:lnTo>
                  <a:lnTo>
                    <a:pt x="55488" y="34793"/>
                  </a:lnTo>
                  <a:lnTo>
                    <a:pt x="54135" y="34793"/>
                  </a:lnTo>
                  <a:lnTo>
                    <a:pt x="52781" y="32662"/>
                  </a:lnTo>
                  <a:lnTo>
                    <a:pt x="51879" y="31242"/>
                  </a:lnTo>
                  <a:lnTo>
                    <a:pt x="49623" y="32662"/>
                  </a:lnTo>
                  <a:lnTo>
                    <a:pt x="47819" y="33372"/>
                  </a:lnTo>
                  <a:lnTo>
                    <a:pt x="46466" y="31952"/>
                  </a:lnTo>
                  <a:lnTo>
                    <a:pt x="45563" y="29822"/>
                  </a:lnTo>
                  <a:lnTo>
                    <a:pt x="43308" y="27692"/>
                  </a:lnTo>
                  <a:lnTo>
                    <a:pt x="43308" y="25562"/>
                  </a:lnTo>
                  <a:lnTo>
                    <a:pt x="43308" y="22721"/>
                  </a:lnTo>
                  <a:lnTo>
                    <a:pt x="44661" y="22721"/>
                  </a:lnTo>
                  <a:lnTo>
                    <a:pt x="46014" y="22721"/>
                  </a:lnTo>
                  <a:lnTo>
                    <a:pt x="46014" y="21301"/>
                  </a:lnTo>
                  <a:close/>
                  <a:moveTo>
                    <a:pt x="3157" y="6390"/>
                  </a:moveTo>
                  <a:lnTo>
                    <a:pt x="3157" y="8520"/>
                  </a:lnTo>
                  <a:lnTo>
                    <a:pt x="3157" y="9941"/>
                  </a:lnTo>
                  <a:lnTo>
                    <a:pt x="2255" y="11361"/>
                  </a:lnTo>
                  <a:lnTo>
                    <a:pt x="1804" y="12781"/>
                  </a:lnTo>
                  <a:lnTo>
                    <a:pt x="1804" y="15621"/>
                  </a:lnTo>
                  <a:lnTo>
                    <a:pt x="0" y="14201"/>
                  </a:lnTo>
                  <a:lnTo>
                    <a:pt x="0" y="12781"/>
                  </a:lnTo>
                  <a:lnTo>
                    <a:pt x="0" y="11361"/>
                  </a:lnTo>
                  <a:lnTo>
                    <a:pt x="1804" y="8520"/>
                  </a:lnTo>
                  <a:close/>
                  <a:moveTo>
                    <a:pt x="14887" y="0"/>
                  </a:moveTo>
                  <a:lnTo>
                    <a:pt x="16240" y="0"/>
                  </a:lnTo>
                  <a:lnTo>
                    <a:pt x="19849" y="0"/>
                  </a:lnTo>
                  <a:lnTo>
                    <a:pt x="21202" y="0"/>
                  </a:lnTo>
                  <a:lnTo>
                    <a:pt x="22556" y="3550"/>
                  </a:lnTo>
                  <a:lnTo>
                    <a:pt x="22556" y="4260"/>
                  </a:lnTo>
                  <a:lnTo>
                    <a:pt x="22556" y="6390"/>
                  </a:lnTo>
                  <a:lnTo>
                    <a:pt x="22105" y="8520"/>
                  </a:lnTo>
                  <a:lnTo>
                    <a:pt x="22105" y="9230"/>
                  </a:lnTo>
                  <a:lnTo>
                    <a:pt x="20751" y="11360"/>
                  </a:lnTo>
                  <a:lnTo>
                    <a:pt x="19849" y="11360"/>
                  </a:lnTo>
                  <a:lnTo>
                    <a:pt x="18496" y="11360"/>
                  </a:lnTo>
                  <a:lnTo>
                    <a:pt x="17593" y="11360"/>
                  </a:lnTo>
                  <a:lnTo>
                    <a:pt x="15338" y="9230"/>
                  </a:lnTo>
                  <a:lnTo>
                    <a:pt x="14887" y="9230"/>
                  </a:lnTo>
                  <a:lnTo>
                    <a:pt x="12631" y="6390"/>
                  </a:lnTo>
                  <a:lnTo>
                    <a:pt x="12631" y="2840"/>
                  </a:lnTo>
                  <a:lnTo>
                    <a:pt x="12631" y="1420"/>
                  </a:lnTo>
                  <a:close/>
                </a:path>
              </a:pathLst>
            </a:custGeom>
            <a:solidFill>
              <a:schemeClr val="bg2">
                <a:lumMod val="90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189"/>
              <a:endParaRPr sz="1800" kern="0">
                <a:solidFill>
                  <a:srgbClr val="7F7F7F"/>
                </a:solidFill>
                <a:latin typeface="Arial" panose="020B0604020202020204" pitchFamily="34" charset="0"/>
                <a:ea typeface="Source Sans Pro"/>
                <a:cs typeface="Arial" panose="020B0604020202020204" pitchFamily="34" charset="0"/>
                <a:sym typeface="Source Sans Pro"/>
              </a:endParaRPr>
            </a:p>
          </p:txBody>
        </p:sp>
      </p:grpSp>
      <p:sp>
        <p:nvSpPr>
          <p:cNvPr id="62" name="Text Placeholder 61">
            <a:extLst>
              <a:ext uri="{FF2B5EF4-FFF2-40B4-BE49-F238E27FC236}">
                <a16:creationId xmlns:a16="http://schemas.microsoft.com/office/drawing/2014/main" id="{2D81B50C-A765-2B58-D6A9-A12F96060761}"/>
              </a:ext>
            </a:extLst>
          </p:cNvPr>
          <p:cNvSpPr>
            <a:spLocks noGrp="1"/>
          </p:cNvSpPr>
          <p:nvPr>
            <p:ph type="body" sz="quarter" idx="14" hasCustomPrompt="1"/>
          </p:nvPr>
        </p:nvSpPr>
        <p:spPr>
          <a:xfrm>
            <a:off x="6915214" y="1668514"/>
            <a:ext cx="1943035" cy="289574"/>
          </a:xfrm>
          <a:prstGeom prst="rect">
            <a:avLst/>
          </a:prstGeom>
        </p:spPr>
        <p:txBody>
          <a:bodyPr lIns="0" tIns="0" rIns="0" bIns="0"/>
          <a:lstStyle>
            <a:lvl1pPr marL="0" indent="0">
              <a:buNone/>
              <a:defRPr sz="1400">
                <a:latin typeface="Arial" panose="020B0604020202020204" pitchFamily="34" charset="0"/>
                <a:cs typeface="Arial" panose="020B0604020202020204" pitchFamily="34" charset="0"/>
              </a:defRPr>
            </a:lvl1pPr>
            <a:lvl2pPr marL="228590" indent="0">
              <a:buNone/>
              <a:defRPr/>
            </a:lvl2pPr>
          </a:lstStyle>
          <a:p>
            <a:pPr lvl="0"/>
            <a:r>
              <a:rPr lang="en-US"/>
              <a:t>Participants</a:t>
            </a:r>
          </a:p>
        </p:txBody>
      </p:sp>
      <p:sp>
        <p:nvSpPr>
          <p:cNvPr id="65" name="Text Placeholder 61">
            <a:extLst>
              <a:ext uri="{FF2B5EF4-FFF2-40B4-BE49-F238E27FC236}">
                <a16:creationId xmlns:a16="http://schemas.microsoft.com/office/drawing/2014/main" id="{F7873D14-2F63-596D-84B3-ED77FCCA37D7}"/>
              </a:ext>
            </a:extLst>
          </p:cNvPr>
          <p:cNvSpPr>
            <a:spLocks noGrp="1"/>
          </p:cNvSpPr>
          <p:nvPr>
            <p:ph type="body" sz="quarter" idx="15" hasCustomPrompt="1"/>
          </p:nvPr>
        </p:nvSpPr>
        <p:spPr>
          <a:xfrm>
            <a:off x="6915214" y="1283503"/>
            <a:ext cx="573607" cy="289574"/>
          </a:xfrm>
          <a:prstGeom prst="rect">
            <a:avLst/>
          </a:prstGeom>
        </p:spPr>
        <p:txBody>
          <a:bodyPr lIns="0" tIns="0" rIns="0" bIns="0"/>
          <a:lstStyle>
            <a:lvl1pPr marL="0" indent="0">
              <a:buNone/>
              <a:defRPr sz="2400" b="1" i="0">
                <a:solidFill>
                  <a:schemeClr val="accent2"/>
                </a:solidFill>
                <a:latin typeface="Arial" panose="020B0604020202020204" pitchFamily="34" charset="0"/>
                <a:cs typeface="Arial" panose="020B0604020202020204" pitchFamily="34" charset="0"/>
              </a:defRPr>
            </a:lvl1pPr>
            <a:lvl2pPr marL="228590" indent="0">
              <a:buNone/>
              <a:defRPr/>
            </a:lvl2pPr>
          </a:lstStyle>
          <a:p>
            <a:pPr lvl="0"/>
            <a:r>
              <a:rPr lang="en-US"/>
              <a:t>36</a:t>
            </a:r>
          </a:p>
        </p:txBody>
      </p:sp>
      <p:sp>
        <p:nvSpPr>
          <p:cNvPr id="66" name="Text Placeholder 61">
            <a:extLst>
              <a:ext uri="{FF2B5EF4-FFF2-40B4-BE49-F238E27FC236}">
                <a16:creationId xmlns:a16="http://schemas.microsoft.com/office/drawing/2014/main" id="{25B592D0-2A13-F340-7977-0630267AB1A3}"/>
              </a:ext>
            </a:extLst>
          </p:cNvPr>
          <p:cNvSpPr>
            <a:spLocks noGrp="1"/>
          </p:cNvSpPr>
          <p:nvPr>
            <p:ph type="body" sz="quarter" idx="16" hasCustomPrompt="1"/>
          </p:nvPr>
        </p:nvSpPr>
        <p:spPr>
          <a:xfrm>
            <a:off x="6915214" y="2479138"/>
            <a:ext cx="1943035" cy="289574"/>
          </a:xfrm>
          <a:prstGeom prst="rect">
            <a:avLst/>
          </a:prstGeom>
        </p:spPr>
        <p:txBody>
          <a:bodyPr lIns="0" tIns="0" rIns="0" bIns="0"/>
          <a:lstStyle>
            <a:lvl1pPr marL="0" indent="0">
              <a:buNone/>
              <a:defRPr sz="1400">
                <a:latin typeface="Arial" panose="020B0604020202020204" pitchFamily="34" charset="0"/>
                <a:cs typeface="Arial" panose="020B0604020202020204" pitchFamily="34" charset="0"/>
              </a:defRPr>
            </a:lvl1pPr>
            <a:lvl2pPr marL="228590" indent="0">
              <a:buNone/>
              <a:defRPr/>
            </a:lvl2pPr>
          </a:lstStyle>
          <a:p>
            <a:pPr lvl="0"/>
            <a:r>
              <a:rPr lang="en-US"/>
              <a:t>States Represented</a:t>
            </a:r>
          </a:p>
        </p:txBody>
      </p:sp>
      <p:sp>
        <p:nvSpPr>
          <p:cNvPr id="67" name="Text Placeholder 61">
            <a:extLst>
              <a:ext uri="{FF2B5EF4-FFF2-40B4-BE49-F238E27FC236}">
                <a16:creationId xmlns:a16="http://schemas.microsoft.com/office/drawing/2014/main" id="{BB38C912-3AFB-D30E-ECF9-9DCA2285C184}"/>
              </a:ext>
            </a:extLst>
          </p:cNvPr>
          <p:cNvSpPr>
            <a:spLocks noGrp="1"/>
          </p:cNvSpPr>
          <p:nvPr>
            <p:ph type="body" sz="quarter" idx="17" hasCustomPrompt="1"/>
          </p:nvPr>
        </p:nvSpPr>
        <p:spPr>
          <a:xfrm>
            <a:off x="6915214" y="2094127"/>
            <a:ext cx="1943035" cy="289574"/>
          </a:xfrm>
          <a:prstGeom prst="rect">
            <a:avLst/>
          </a:prstGeom>
        </p:spPr>
        <p:txBody>
          <a:bodyPr lIns="0" tIns="0" rIns="0" bIns="0"/>
          <a:lstStyle>
            <a:lvl1pPr marL="0" indent="0">
              <a:buNone/>
              <a:defRPr sz="2400" b="1" i="0">
                <a:solidFill>
                  <a:schemeClr val="accent2"/>
                </a:solidFill>
                <a:latin typeface="Arial" panose="020B0604020202020204" pitchFamily="34" charset="0"/>
                <a:cs typeface="Arial" panose="020B0604020202020204" pitchFamily="34" charset="0"/>
              </a:defRPr>
            </a:lvl1pPr>
            <a:lvl2pPr marL="228590" indent="0">
              <a:buNone/>
              <a:defRPr/>
            </a:lvl2pPr>
          </a:lstStyle>
          <a:p>
            <a:pPr lvl="0"/>
            <a:r>
              <a:rPr lang="en-US"/>
              <a:t>28 of 30</a:t>
            </a:r>
          </a:p>
        </p:txBody>
      </p:sp>
      <p:sp>
        <p:nvSpPr>
          <p:cNvPr id="68" name="Text Placeholder 61">
            <a:extLst>
              <a:ext uri="{FF2B5EF4-FFF2-40B4-BE49-F238E27FC236}">
                <a16:creationId xmlns:a16="http://schemas.microsoft.com/office/drawing/2014/main" id="{CA48D08C-EA70-AD95-51DC-D3D3A76ED9A9}"/>
              </a:ext>
            </a:extLst>
          </p:cNvPr>
          <p:cNvSpPr>
            <a:spLocks noGrp="1"/>
          </p:cNvSpPr>
          <p:nvPr>
            <p:ph type="body" sz="quarter" idx="18" hasCustomPrompt="1"/>
          </p:nvPr>
        </p:nvSpPr>
        <p:spPr>
          <a:xfrm>
            <a:off x="6915214" y="3300733"/>
            <a:ext cx="1943035" cy="289574"/>
          </a:xfrm>
          <a:prstGeom prst="rect">
            <a:avLst/>
          </a:prstGeom>
        </p:spPr>
        <p:txBody>
          <a:bodyPr lIns="0" tIns="0" rIns="0" bIns="0"/>
          <a:lstStyle>
            <a:lvl1pPr marL="0" indent="0">
              <a:buNone/>
              <a:defRPr sz="1400">
                <a:latin typeface="Arial" panose="020B0604020202020204" pitchFamily="34" charset="0"/>
                <a:cs typeface="Arial" panose="020B0604020202020204" pitchFamily="34" charset="0"/>
              </a:defRPr>
            </a:lvl1pPr>
            <a:lvl2pPr marL="228590" indent="0">
              <a:buNone/>
              <a:defRPr/>
            </a:lvl2pPr>
          </a:lstStyle>
          <a:p>
            <a:pPr lvl="0"/>
            <a:r>
              <a:rPr lang="en-US"/>
              <a:t>Staff Members</a:t>
            </a:r>
          </a:p>
        </p:txBody>
      </p:sp>
      <p:sp>
        <p:nvSpPr>
          <p:cNvPr id="69" name="Text Placeholder 61">
            <a:extLst>
              <a:ext uri="{FF2B5EF4-FFF2-40B4-BE49-F238E27FC236}">
                <a16:creationId xmlns:a16="http://schemas.microsoft.com/office/drawing/2014/main" id="{13BF6B30-7423-F3DB-3BD1-E86825129514}"/>
              </a:ext>
            </a:extLst>
          </p:cNvPr>
          <p:cNvSpPr>
            <a:spLocks noGrp="1"/>
          </p:cNvSpPr>
          <p:nvPr>
            <p:ph type="body" sz="quarter" idx="19" hasCustomPrompt="1"/>
          </p:nvPr>
        </p:nvSpPr>
        <p:spPr>
          <a:xfrm>
            <a:off x="6915214" y="2915722"/>
            <a:ext cx="1943035" cy="289574"/>
          </a:xfrm>
          <a:prstGeom prst="rect">
            <a:avLst/>
          </a:prstGeom>
        </p:spPr>
        <p:txBody>
          <a:bodyPr lIns="0" tIns="0" rIns="0" bIns="0"/>
          <a:lstStyle>
            <a:lvl1pPr marL="0" indent="0">
              <a:buNone/>
              <a:defRPr sz="2400" b="1" i="0">
                <a:solidFill>
                  <a:schemeClr val="accent2"/>
                </a:solidFill>
                <a:latin typeface="Arial" panose="020B0604020202020204" pitchFamily="34" charset="0"/>
                <a:cs typeface="Arial" panose="020B0604020202020204" pitchFamily="34" charset="0"/>
              </a:defRPr>
            </a:lvl1pPr>
            <a:lvl2pPr marL="228590" indent="0">
              <a:buNone/>
              <a:defRPr/>
            </a:lvl2pPr>
          </a:lstStyle>
          <a:p>
            <a:pPr lvl="0"/>
            <a:r>
              <a:rPr lang="en-US"/>
              <a:t>30</a:t>
            </a:r>
          </a:p>
        </p:txBody>
      </p:sp>
      <p:sp>
        <p:nvSpPr>
          <p:cNvPr id="72" name="Text Placeholder 61">
            <a:extLst>
              <a:ext uri="{FF2B5EF4-FFF2-40B4-BE49-F238E27FC236}">
                <a16:creationId xmlns:a16="http://schemas.microsoft.com/office/drawing/2014/main" id="{E6538671-C6F0-E64B-DE5A-31C1706D1087}"/>
              </a:ext>
            </a:extLst>
          </p:cNvPr>
          <p:cNvSpPr>
            <a:spLocks noGrp="1"/>
          </p:cNvSpPr>
          <p:nvPr>
            <p:ph type="body" sz="quarter" idx="20" hasCustomPrompt="1"/>
          </p:nvPr>
        </p:nvSpPr>
        <p:spPr>
          <a:xfrm>
            <a:off x="6915214" y="4110961"/>
            <a:ext cx="1943035" cy="289574"/>
          </a:xfrm>
          <a:prstGeom prst="rect">
            <a:avLst/>
          </a:prstGeom>
        </p:spPr>
        <p:txBody>
          <a:bodyPr lIns="0" tIns="0" rIns="0" bIns="0"/>
          <a:lstStyle>
            <a:lvl1pPr marL="0" indent="0">
              <a:buNone/>
              <a:defRPr sz="1400">
                <a:latin typeface="Arial" panose="020B0604020202020204" pitchFamily="34" charset="0"/>
                <a:cs typeface="Arial" panose="020B0604020202020204" pitchFamily="34" charset="0"/>
              </a:defRPr>
            </a:lvl1pPr>
            <a:lvl2pPr marL="228590" indent="0">
              <a:buNone/>
              <a:defRPr/>
            </a:lvl2pPr>
          </a:lstStyle>
          <a:p>
            <a:pPr lvl="0"/>
            <a:r>
              <a:rPr lang="en-US"/>
              <a:t>Volunteers</a:t>
            </a:r>
          </a:p>
        </p:txBody>
      </p:sp>
      <p:sp>
        <p:nvSpPr>
          <p:cNvPr id="73" name="Text Placeholder 61">
            <a:extLst>
              <a:ext uri="{FF2B5EF4-FFF2-40B4-BE49-F238E27FC236}">
                <a16:creationId xmlns:a16="http://schemas.microsoft.com/office/drawing/2014/main" id="{26416A86-DCCE-DE7E-1C9C-D064C57E4007}"/>
              </a:ext>
            </a:extLst>
          </p:cNvPr>
          <p:cNvSpPr>
            <a:spLocks noGrp="1"/>
          </p:cNvSpPr>
          <p:nvPr>
            <p:ph type="body" sz="quarter" idx="21" hasCustomPrompt="1"/>
          </p:nvPr>
        </p:nvSpPr>
        <p:spPr>
          <a:xfrm>
            <a:off x="6915214" y="3725950"/>
            <a:ext cx="1943035" cy="289574"/>
          </a:xfrm>
          <a:prstGeom prst="rect">
            <a:avLst/>
          </a:prstGeom>
        </p:spPr>
        <p:txBody>
          <a:bodyPr lIns="0" tIns="0" rIns="0" bIns="0"/>
          <a:lstStyle>
            <a:lvl1pPr marL="0" indent="0">
              <a:buNone/>
              <a:defRPr sz="2400" b="1" i="0">
                <a:solidFill>
                  <a:schemeClr val="accent2"/>
                </a:solidFill>
                <a:latin typeface="Arial" panose="020B0604020202020204" pitchFamily="34" charset="0"/>
                <a:cs typeface="Arial" panose="020B0604020202020204" pitchFamily="34" charset="0"/>
              </a:defRPr>
            </a:lvl1pPr>
            <a:lvl2pPr marL="228590" indent="0">
              <a:buNone/>
              <a:defRPr/>
            </a:lvl2pPr>
          </a:lstStyle>
          <a:p>
            <a:pPr lvl="0"/>
            <a:r>
              <a:rPr lang="en-US"/>
              <a:t>6</a:t>
            </a:r>
          </a:p>
        </p:txBody>
      </p:sp>
      <p:pic>
        <p:nvPicPr>
          <p:cNvPr id="3" name="Picture 2">
            <a:extLst>
              <a:ext uri="{FF2B5EF4-FFF2-40B4-BE49-F238E27FC236}">
                <a16:creationId xmlns:a16="http://schemas.microsoft.com/office/drawing/2014/main" id="{4C47C8D0-8E1E-3F01-501E-0AFBF4BE62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Title 9">
            <a:extLst>
              <a:ext uri="{FF2B5EF4-FFF2-40B4-BE49-F238E27FC236}">
                <a16:creationId xmlns:a16="http://schemas.microsoft.com/office/drawing/2014/main" id="{D8F1902B-A3F8-7395-6E40-420251C3D13E}"/>
              </a:ext>
            </a:extLst>
          </p:cNvPr>
          <p:cNvSpPr>
            <a:spLocks noGrp="1"/>
          </p:cNvSpPr>
          <p:nvPr>
            <p:ph type="title" hasCustomPrompt="1"/>
          </p:nvPr>
        </p:nvSpPr>
        <p:spPr>
          <a:xfrm>
            <a:off x="285749" y="544678"/>
            <a:ext cx="8572499"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61" name="Rectangle 60">
            <a:extLst>
              <a:ext uri="{FF2B5EF4-FFF2-40B4-BE49-F238E27FC236}">
                <a16:creationId xmlns:a16="http://schemas.microsoft.com/office/drawing/2014/main" id="{967656B2-365E-1112-DC7A-EBD8D3434313}"/>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 Placeholder 4">
            <a:extLst>
              <a:ext uri="{FF2B5EF4-FFF2-40B4-BE49-F238E27FC236}">
                <a16:creationId xmlns:a16="http://schemas.microsoft.com/office/drawing/2014/main" id="{776A61C2-242D-EEEB-05ED-9436F85751F6}"/>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329615880"/>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 Photo Collage (2)">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4A174E6-7964-9330-B26A-B812B0B28BB5}"/>
              </a:ext>
            </a:extLst>
          </p:cNvPr>
          <p:cNvSpPr>
            <a:spLocks noGrp="1"/>
          </p:cNvSpPr>
          <p:nvPr>
            <p:ph type="pic" sz="quarter" idx="10"/>
          </p:nvPr>
        </p:nvSpPr>
        <p:spPr>
          <a:xfrm>
            <a:off x="285750" y="457202"/>
            <a:ext cx="2057400" cy="4140435"/>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2" name="Picture Placeholder 10">
            <a:extLst>
              <a:ext uri="{FF2B5EF4-FFF2-40B4-BE49-F238E27FC236}">
                <a16:creationId xmlns:a16="http://schemas.microsoft.com/office/drawing/2014/main" id="{3F6BA031-CAF1-5B33-CC65-CD53D16655E8}"/>
              </a:ext>
            </a:extLst>
          </p:cNvPr>
          <p:cNvSpPr>
            <a:spLocks noGrp="1"/>
          </p:cNvSpPr>
          <p:nvPr>
            <p:ph type="pic" sz="quarter" idx="11"/>
          </p:nvPr>
        </p:nvSpPr>
        <p:spPr>
          <a:xfrm>
            <a:off x="2457450" y="457202"/>
            <a:ext cx="2057400" cy="4140435"/>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Picture Placeholder 10">
            <a:extLst>
              <a:ext uri="{FF2B5EF4-FFF2-40B4-BE49-F238E27FC236}">
                <a16:creationId xmlns:a16="http://schemas.microsoft.com/office/drawing/2014/main" id="{791E5B56-517D-3556-6A90-6B32169E803E}"/>
              </a:ext>
            </a:extLst>
          </p:cNvPr>
          <p:cNvSpPr>
            <a:spLocks noGrp="1"/>
          </p:cNvSpPr>
          <p:nvPr>
            <p:ph type="pic" sz="quarter" idx="12"/>
          </p:nvPr>
        </p:nvSpPr>
        <p:spPr>
          <a:xfrm>
            <a:off x="4629150" y="457202"/>
            <a:ext cx="2057400" cy="4140435"/>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4" name="Picture Placeholder 10">
            <a:extLst>
              <a:ext uri="{FF2B5EF4-FFF2-40B4-BE49-F238E27FC236}">
                <a16:creationId xmlns:a16="http://schemas.microsoft.com/office/drawing/2014/main" id="{D33AB6CD-7FA5-4018-9BFA-7B0327D73DC2}"/>
              </a:ext>
            </a:extLst>
          </p:cNvPr>
          <p:cNvSpPr>
            <a:spLocks noGrp="1"/>
          </p:cNvSpPr>
          <p:nvPr>
            <p:ph type="pic" sz="quarter" idx="13"/>
          </p:nvPr>
        </p:nvSpPr>
        <p:spPr>
          <a:xfrm>
            <a:off x="6799473" y="457202"/>
            <a:ext cx="2057400" cy="4140435"/>
          </a:xfrm>
          <a:prstGeom prst="roundRect">
            <a:avLst>
              <a:gd name="adj" fmla="val 8204"/>
            </a:avLst>
          </a:prstGeom>
          <a:solidFill>
            <a:schemeClr val="tx2"/>
          </a:solidFill>
        </p:spPr>
        <p:txBody>
          <a:bodyPr wrap="square">
            <a:noAutofit/>
          </a:bodyPr>
          <a:lstStyle>
            <a:lvl1pPr>
              <a:defRPr>
                <a:latin typeface="Arial" panose="020B0604020202020204" pitchFamily="34" charset="0"/>
                <a:cs typeface="Arial" panose="020B0604020202020204" pitchFamily="34" charset="0"/>
              </a:defRPr>
            </a:lvl1pPr>
          </a:lstStyle>
          <a:p>
            <a:r>
              <a:rPr lang="en-US"/>
              <a:t>Click icon to add picture</a:t>
            </a:r>
          </a:p>
        </p:txBody>
      </p:sp>
      <p:pic>
        <p:nvPicPr>
          <p:cNvPr id="6" name="Picture 5">
            <a:extLst>
              <a:ext uri="{FF2B5EF4-FFF2-40B4-BE49-F238E27FC236}">
                <a16:creationId xmlns:a16="http://schemas.microsoft.com/office/drawing/2014/main" id="{06FEFF46-31A3-08C7-DCE2-D8039FD453C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705685"/>
            <a:ext cx="877226" cy="164479"/>
          </a:xfrm>
          <a:prstGeom prst="rect">
            <a:avLst/>
          </a:prstGeom>
        </p:spPr>
      </p:pic>
      <p:sp>
        <p:nvSpPr>
          <p:cNvPr id="5" name="Rectangle 4">
            <a:extLst>
              <a:ext uri="{FF2B5EF4-FFF2-40B4-BE49-F238E27FC236}">
                <a16:creationId xmlns:a16="http://schemas.microsoft.com/office/drawing/2014/main" id="{AB008FC7-D19F-221F-4468-3ABBFB6BED3C}"/>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2679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roduct Slide (Laptop Mockup)">
    <p:bg>
      <p:bgPr>
        <a:solidFill>
          <a:schemeClr val="bg2"/>
        </a:solidFill>
        <a:effectLst/>
      </p:bgPr>
    </p:bg>
    <p:spTree>
      <p:nvGrpSpPr>
        <p:cNvPr id="1" name=""/>
        <p:cNvGrpSpPr/>
        <p:nvPr/>
      </p:nvGrpSpPr>
      <p:grpSpPr>
        <a:xfrm>
          <a:off x="0" y="0"/>
          <a:ext cx="0" cy="0"/>
          <a:chOff x="0" y="0"/>
          <a:chExt cx="0" cy="0"/>
        </a:xfrm>
      </p:grpSpPr>
      <p:sp>
        <p:nvSpPr>
          <p:cNvPr id="20" name="Text Placeholder 9">
            <a:extLst>
              <a:ext uri="{FF2B5EF4-FFF2-40B4-BE49-F238E27FC236}">
                <a16:creationId xmlns:a16="http://schemas.microsoft.com/office/drawing/2014/main" id="{6388AD19-7FEA-54F4-AA56-F955FBDF5E41}"/>
              </a:ext>
            </a:extLst>
          </p:cNvPr>
          <p:cNvSpPr>
            <a:spLocks noGrp="1"/>
          </p:cNvSpPr>
          <p:nvPr>
            <p:ph type="body" sz="quarter" idx="15" hasCustomPrompt="1"/>
          </p:nvPr>
        </p:nvSpPr>
        <p:spPr>
          <a:xfrm>
            <a:off x="285750" y="1438828"/>
            <a:ext cx="3524250" cy="2766461"/>
          </a:xfrm>
          <a:prstGeom prst="rect">
            <a:avLst/>
          </a:prstGeom>
        </p:spPr>
        <p:txBody>
          <a:bodyPr lIns="0" tIns="0" rIns="0" bIns="0"/>
          <a:lstStyle>
            <a:lvl1pPr marL="0" indent="0">
              <a:spcAft>
                <a:spcPts val="422"/>
              </a:spcAft>
              <a:buNone/>
              <a:defRPr sz="1400" b="0" i="0">
                <a:latin typeface="Manrope" pitchFamily="2" charset="0"/>
              </a:defRPr>
            </a:lvl1pPr>
            <a:lvl2pPr>
              <a:defRPr sz="1400" b="0" i="0">
                <a:latin typeface="Manrope" pitchFamily="2" charset="0"/>
              </a:defRPr>
            </a:lvl2pPr>
            <a:lvl3pPr>
              <a:defRPr sz="1400" b="0" i="0">
                <a:latin typeface="Manrope" pitchFamily="2" charset="0"/>
              </a:defRPr>
            </a:lvl3pPr>
            <a:lvl4pPr>
              <a:defRPr sz="1400" b="0" i="0">
                <a:latin typeface="Manrope" pitchFamily="2" charset="0"/>
              </a:defRPr>
            </a:lvl4pPr>
            <a:lvl5pPr>
              <a:defRPr sz="1400" b="0" i="0">
                <a:latin typeface="Manrope" pitchFamily="2" charset="0"/>
              </a:defRPr>
            </a:lvl5pPr>
          </a:lstStyle>
          <a:p>
            <a:pPr>
              <a:spcAft>
                <a:spcPts val="563"/>
              </a:spcAft>
            </a:pPr>
            <a:r>
              <a:rPr lang="en-US" sz="1400">
                <a:solidFill>
                  <a:srgbClr val="000000"/>
                </a:solidFill>
                <a:latin typeface="Manrope" pitchFamily="2" charset="0"/>
              </a:rPr>
              <a:t>Lorem ipsum dolor sit </a:t>
            </a:r>
            <a:r>
              <a:rPr lang="en-US" sz="1400" err="1">
                <a:solidFill>
                  <a:srgbClr val="000000"/>
                </a:solidFill>
                <a:latin typeface="Manrope" pitchFamily="2" charset="0"/>
              </a:rPr>
              <a:t>amet</a:t>
            </a:r>
            <a:r>
              <a:rPr lang="en-US" sz="1400">
                <a:solidFill>
                  <a:srgbClr val="000000"/>
                </a:solidFill>
                <a:latin typeface="Manrope" pitchFamily="2" charset="0"/>
              </a:rPr>
              <a:t>, </a:t>
            </a:r>
            <a:r>
              <a:rPr lang="en-US" sz="1400" err="1">
                <a:solidFill>
                  <a:srgbClr val="000000"/>
                </a:solidFill>
                <a:latin typeface="Manrope" pitchFamily="2" charset="0"/>
              </a:rPr>
              <a:t>consectetur</a:t>
            </a:r>
            <a:r>
              <a:rPr lang="en-US" sz="1400">
                <a:solidFill>
                  <a:srgbClr val="000000"/>
                </a:solidFill>
                <a:latin typeface="Manrope" pitchFamily="2" charset="0"/>
              </a:rPr>
              <a:t> </a:t>
            </a:r>
            <a:r>
              <a:rPr lang="en-US" sz="1400" err="1">
                <a:solidFill>
                  <a:srgbClr val="000000"/>
                </a:solidFill>
                <a:latin typeface="Manrope" pitchFamily="2" charset="0"/>
              </a:rPr>
              <a:t>adipiscing</a:t>
            </a:r>
            <a:r>
              <a:rPr lang="en-US" sz="1400">
                <a:solidFill>
                  <a:srgbClr val="000000"/>
                </a:solidFill>
                <a:latin typeface="Manrope" pitchFamily="2" charset="0"/>
              </a:rPr>
              <a:t> </a:t>
            </a:r>
            <a:r>
              <a:rPr lang="en-US" sz="1400" err="1">
                <a:solidFill>
                  <a:srgbClr val="000000"/>
                </a:solidFill>
                <a:latin typeface="Manrope" pitchFamily="2" charset="0"/>
              </a:rPr>
              <a:t>elit</a:t>
            </a:r>
            <a:r>
              <a:rPr lang="en-US" sz="1400">
                <a:solidFill>
                  <a:srgbClr val="000000"/>
                </a:solidFill>
                <a:latin typeface="Manrope" pitchFamily="2" charset="0"/>
              </a:rPr>
              <a:t>. Vestibulum </a:t>
            </a:r>
            <a:r>
              <a:rPr lang="en-US" sz="1400" err="1">
                <a:solidFill>
                  <a:srgbClr val="000000"/>
                </a:solidFill>
                <a:latin typeface="Manrope" pitchFamily="2" charset="0"/>
              </a:rPr>
              <a:t>commodo</a:t>
            </a:r>
            <a:r>
              <a:rPr lang="en-US" sz="1400">
                <a:solidFill>
                  <a:srgbClr val="000000"/>
                </a:solidFill>
                <a:latin typeface="Manrope" pitchFamily="2" charset="0"/>
              </a:rPr>
              <a:t> </a:t>
            </a:r>
            <a:r>
              <a:rPr lang="en-US" sz="1400" err="1">
                <a:solidFill>
                  <a:srgbClr val="000000"/>
                </a:solidFill>
                <a:latin typeface="Manrope" pitchFamily="2" charset="0"/>
              </a:rPr>
              <a:t>mauris</a:t>
            </a:r>
            <a:r>
              <a:rPr lang="en-US" sz="1400">
                <a:solidFill>
                  <a:srgbClr val="000000"/>
                </a:solidFill>
                <a:latin typeface="Manrope" pitchFamily="2" charset="0"/>
              </a:rPr>
              <a:t> dui, id </a:t>
            </a:r>
            <a:r>
              <a:rPr lang="en-US" sz="1400" err="1">
                <a:solidFill>
                  <a:srgbClr val="000000"/>
                </a:solidFill>
                <a:latin typeface="Manrope" pitchFamily="2" charset="0"/>
              </a:rPr>
              <a:t>euismod</a:t>
            </a:r>
            <a:r>
              <a:rPr lang="en-US" sz="1400">
                <a:solidFill>
                  <a:srgbClr val="000000"/>
                </a:solidFill>
                <a:latin typeface="Manrope" pitchFamily="2" charset="0"/>
              </a:rPr>
              <a:t> diam gravida ac. </a:t>
            </a:r>
          </a:p>
          <a:p>
            <a:pPr marL="0" marR="0" lvl="0" indent="0" algn="l" defTabSz="457189" rtl="0" eaLnBrk="1" fontAlgn="auto" latinLnBrk="0" hangingPunct="1">
              <a:lnSpc>
                <a:spcPct val="100000"/>
              </a:lnSpc>
              <a:spcBef>
                <a:spcPct val="20000"/>
              </a:spcBef>
              <a:spcAft>
                <a:spcPts val="563"/>
              </a:spcAft>
              <a:buClrTx/>
              <a:buSzTx/>
              <a:buFont typeface="Arial" pitchFamily="34" charset="0"/>
              <a:buNone/>
              <a:tabLst/>
              <a:defRPr/>
            </a:pPr>
            <a:r>
              <a:rPr lang="en-US" sz="1400">
                <a:solidFill>
                  <a:srgbClr val="000000"/>
                </a:solidFill>
                <a:latin typeface="Manrope" pitchFamily="2" charset="0"/>
              </a:rPr>
              <a:t>Lorem ipsum dolor sit </a:t>
            </a:r>
            <a:r>
              <a:rPr lang="en-US" sz="1400" err="1">
                <a:solidFill>
                  <a:srgbClr val="000000"/>
                </a:solidFill>
                <a:latin typeface="Manrope" pitchFamily="2" charset="0"/>
              </a:rPr>
              <a:t>amet</a:t>
            </a:r>
            <a:r>
              <a:rPr lang="en-US" sz="1400">
                <a:solidFill>
                  <a:srgbClr val="000000"/>
                </a:solidFill>
                <a:latin typeface="Manrope" pitchFamily="2" charset="0"/>
              </a:rPr>
              <a:t>, </a:t>
            </a:r>
            <a:r>
              <a:rPr lang="en-US" sz="1400" err="1">
                <a:solidFill>
                  <a:srgbClr val="000000"/>
                </a:solidFill>
                <a:latin typeface="Manrope" pitchFamily="2" charset="0"/>
              </a:rPr>
              <a:t>consectetur</a:t>
            </a:r>
            <a:r>
              <a:rPr lang="en-US" sz="1400">
                <a:solidFill>
                  <a:srgbClr val="000000"/>
                </a:solidFill>
                <a:latin typeface="Manrope" pitchFamily="2" charset="0"/>
              </a:rPr>
              <a:t> </a:t>
            </a:r>
            <a:r>
              <a:rPr lang="en-US" sz="1400" err="1">
                <a:solidFill>
                  <a:srgbClr val="000000"/>
                </a:solidFill>
                <a:latin typeface="Manrope" pitchFamily="2" charset="0"/>
              </a:rPr>
              <a:t>adipiscing</a:t>
            </a:r>
            <a:r>
              <a:rPr lang="en-US" sz="1400">
                <a:solidFill>
                  <a:srgbClr val="000000"/>
                </a:solidFill>
                <a:latin typeface="Manrope" pitchFamily="2" charset="0"/>
              </a:rPr>
              <a:t> </a:t>
            </a:r>
            <a:r>
              <a:rPr lang="en-US" sz="1400" err="1">
                <a:solidFill>
                  <a:srgbClr val="000000"/>
                </a:solidFill>
                <a:latin typeface="Manrope" pitchFamily="2" charset="0"/>
              </a:rPr>
              <a:t>elit</a:t>
            </a:r>
            <a:r>
              <a:rPr lang="en-US" sz="1400">
                <a:solidFill>
                  <a:srgbClr val="000000"/>
                </a:solidFill>
                <a:latin typeface="Manrope" pitchFamily="2" charset="0"/>
              </a:rPr>
              <a:t>. Vestibulum </a:t>
            </a:r>
            <a:r>
              <a:rPr lang="en-US" sz="1400" err="1">
                <a:solidFill>
                  <a:srgbClr val="000000"/>
                </a:solidFill>
                <a:latin typeface="Manrope" pitchFamily="2" charset="0"/>
              </a:rPr>
              <a:t>commodo</a:t>
            </a:r>
            <a:r>
              <a:rPr lang="en-US" sz="1400">
                <a:solidFill>
                  <a:srgbClr val="000000"/>
                </a:solidFill>
                <a:latin typeface="Manrope" pitchFamily="2" charset="0"/>
              </a:rPr>
              <a:t> </a:t>
            </a:r>
            <a:r>
              <a:rPr lang="en-US" sz="1400" err="1">
                <a:solidFill>
                  <a:srgbClr val="000000"/>
                </a:solidFill>
                <a:latin typeface="Manrope" pitchFamily="2" charset="0"/>
              </a:rPr>
              <a:t>mauris</a:t>
            </a:r>
            <a:r>
              <a:rPr lang="en-US" sz="1400">
                <a:solidFill>
                  <a:srgbClr val="000000"/>
                </a:solidFill>
                <a:latin typeface="Manrope" pitchFamily="2" charset="0"/>
              </a:rPr>
              <a:t> dui, id </a:t>
            </a:r>
            <a:r>
              <a:rPr lang="en-US" sz="1400" err="1">
                <a:solidFill>
                  <a:srgbClr val="000000"/>
                </a:solidFill>
                <a:latin typeface="Manrope" pitchFamily="2" charset="0"/>
              </a:rPr>
              <a:t>euismod</a:t>
            </a:r>
            <a:r>
              <a:rPr lang="en-US" sz="1400">
                <a:solidFill>
                  <a:srgbClr val="000000"/>
                </a:solidFill>
                <a:latin typeface="Manrope" pitchFamily="2" charset="0"/>
              </a:rPr>
              <a:t> diam gravida ac. </a:t>
            </a:r>
            <a:endParaRPr lang="en-US" sz="1400">
              <a:latin typeface="Manrope" pitchFamily="2" charset="0"/>
              <a:cs typeface="Arial" panose="020B0604020202020204" pitchFamily="34" charset="0"/>
            </a:endParaRPr>
          </a:p>
          <a:p>
            <a:pPr marL="0" marR="0" lvl="0" indent="0" algn="l" defTabSz="457189" rtl="0" eaLnBrk="1" fontAlgn="auto" latinLnBrk="0" hangingPunct="1">
              <a:lnSpc>
                <a:spcPct val="100000"/>
              </a:lnSpc>
              <a:spcBef>
                <a:spcPct val="20000"/>
              </a:spcBef>
              <a:spcAft>
                <a:spcPts val="563"/>
              </a:spcAft>
              <a:buClrTx/>
              <a:buSzTx/>
              <a:buFont typeface="Arial" pitchFamily="34" charset="0"/>
              <a:buNone/>
              <a:tabLst/>
              <a:defRPr/>
            </a:pPr>
            <a:r>
              <a:rPr lang="en-US" sz="1400">
                <a:solidFill>
                  <a:srgbClr val="000000"/>
                </a:solidFill>
                <a:latin typeface="Manrope" pitchFamily="2" charset="0"/>
              </a:rPr>
              <a:t>Lorem ipsum dolor sit </a:t>
            </a:r>
            <a:r>
              <a:rPr lang="en-US" sz="1400" err="1">
                <a:solidFill>
                  <a:srgbClr val="000000"/>
                </a:solidFill>
                <a:latin typeface="Manrope" pitchFamily="2" charset="0"/>
              </a:rPr>
              <a:t>amet</a:t>
            </a:r>
            <a:r>
              <a:rPr lang="en-US" sz="1400">
                <a:solidFill>
                  <a:srgbClr val="000000"/>
                </a:solidFill>
                <a:latin typeface="Manrope" pitchFamily="2" charset="0"/>
              </a:rPr>
              <a:t>, </a:t>
            </a:r>
            <a:r>
              <a:rPr lang="en-US" sz="1400" err="1">
                <a:solidFill>
                  <a:srgbClr val="000000"/>
                </a:solidFill>
                <a:latin typeface="Manrope" pitchFamily="2" charset="0"/>
              </a:rPr>
              <a:t>consectetur</a:t>
            </a:r>
            <a:r>
              <a:rPr lang="en-US" sz="1400">
                <a:solidFill>
                  <a:srgbClr val="000000"/>
                </a:solidFill>
                <a:latin typeface="Manrope" pitchFamily="2" charset="0"/>
              </a:rPr>
              <a:t> </a:t>
            </a:r>
            <a:r>
              <a:rPr lang="en-US" sz="1400" err="1">
                <a:solidFill>
                  <a:srgbClr val="000000"/>
                </a:solidFill>
                <a:latin typeface="Manrope" pitchFamily="2" charset="0"/>
              </a:rPr>
              <a:t>adipiscing</a:t>
            </a:r>
            <a:r>
              <a:rPr lang="en-US" sz="1400">
                <a:solidFill>
                  <a:srgbClr val="000000"/>
                </a:solidFill>
                <a:latin typeface="Manrope" pitchFamily="2" charset="0"/>
              </a:rPr>
              <a:t> </a:t>
            </a:r>
            <a:r>
              <a:rPr lang="en-US" sz="1400" err="1">
                <a:solidFill>
                  <a:srgbClr val="000000"/>
                </a:solidFill>
                <a:latin typeface="Manrope" pitchFamily="2" charset="0"/>
              </a:rPr>
              <a:t>elit</a:t>
            </a:r>
            <a:r>
              <a:rPr lang="en-US" sz="1400">
                <a:solidFill>
                  <a:srgbClr val="000000"/>
                </a:solidFill>
                <a:latin typeface="Manrope" pitchFamily="2" charset="0"/>
              </a:rPr>
              <a:t>. Vestibulum </a:t>
            </a:r>
            <a:r>
              <a:rPr lang="en-US" sz="1400" err="1">
                <a:solidFill>
                  <a:srgbClr val="000000"/>
                </a:solidFill>
                <a:latin typeface="Manrope" pitchFamily="2" charset="0"/>
              </a:rPr>
              <a:t>commodo</a:t>
            </a:r>
            <a:r>
              <a:rPr lang="en-US" sz="1400">
                <a:solidFill>
                  <a:srgbClr val="000000"/>
                </a:solidFill>
                <a:latin typeface="Manrope" pitchFamily="2" charset="0"/>
              </a:rPr>
              <a:t> </a:t>
            </a:r>
            <a:r>
              <a:rPr lang="en-US" sz="1400" err="1">
                <a:solidFill>
                  <a:srgbClr val="000000"/>
                </a:solidFill>
                <a:latin typeface="Manrope" pitchFamily="2" charset="0"/>
              </a:rPr>
              <a:t>mauris</a:t>
            </a:r>
            <a:r>
              <a:rPr lang="en-US" sz="1400">
                <a:solidFill>
                  <a:srgbClr val="000000"/>
                </a:solidFill>
                <a:latin typeface="Manrope" pitchFamily="2" charset="0"/>
              </a:rPr>
              <a:t> dui, id </a:t>
            </a:r>
            <a:r>
              <a:rPr lang="en-US" sz="1400" err="1">
                <a:solidFill>
                  <a:srgbClr val="000000"/>
                </a:solidFill>
                <a:latin typeface="Manrope" pitchFamily="2" charset="0"/>
              </a:rPr>
              <a:t>euismod</a:t>
            </a:r>
            <a:r>
              <a:rPr lang="en-US" sz="1400">
                <a:solidFill>
                  <a:srgbClr val="000000"/>
                </a:solidFill>
                <a:latin typeface="Manrope" pitchFamily="2" charset="0"/>
              </a:rPr>
              <a:t> diam gravida ac. </a:t>
            </a:r>
            <a:endParaRPr lang="en-US" sz="1400">
              <a:latin typeface="Manrope" pitchFamily="2" charset="0"/>
              <a:cs typeface="Arial" panose="020B0604020202020204" pitchFamily="34" charset="0"/>
            </a:endParaRPr>
          </a:p>
        </p:txBody>
      </p:sp>
      <p:pic>
        <p:nvPicPr>
          <p:cNvPr id="5" name="Picture 4">
            <a:extLst>
              <a:ext uri="{FF2B5EF4-FFF2-40B4-BE49-F238E27FC236}">
                <a16:creationId xmlns:a16="http://schemas.microsoft.com/office/drawing/2014/main" id="{BC2A109A-9188-47B4-B690-3305A6D69D0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038600" y="1423989"/>
            <a:ext cx="6397338" cy="3718142"/>
          </a:xfrm>
          <a:prstGeom prst="rect">
            <a:avLst/>
          </a:prstGeom>
        </p:spPr>
      </p:pic>
      <p:sp>
        <p:nvSpPr>
          <p:cNvPr id="7" name="Picture Placeholder 6">
            <a:extLst>
              <a:ext uri="{FF2B5EF4-FFF2-40B4-BE49-F238E27FC236}">
                <a16:creationId xmlns:a16="http://schemas.microsoft.com/office/drawing/2014/main" id="{DAABF99D-FCF1-089B-9152-EA0485EDCA78}"/>
              </a:ext>
            </a:extLst>
          </p:cNvPr>
          <p:cNvSpPr>
            <a:spLocks noGrp="1"/>
          </p:cNvSpPr>
          <p:nvPr>
            <p:ph type="pic" sz="quarter" idx="16"/>
          </p:nvPr>
        </p:nvSpPr>
        <p:spPr>
          <a:xfrm>
            <a:off x="4821095" y="1647826"/>
            <a:ext cx="4832350" cy="3149600"/>
          </a:xfrm>
          <a:prstGeom prst="rect">
            <a:avLst/>
          </a:prstGeom>
          <a:ln w="3175">
            <a:solidFill>
              <a:schemeClr val="tx1"/>
            </a:solidFill>
          </a:ln>
        </p:spPr>
        <p:txBody>
          <a:bodyPr/>
          <a:lstStyle/>
          <a:p>
            <a:r>
              <a:rPr lang="en-US"/>
              <a:t>Click icon to add picture</a:t>
            </a:r>
          </a:p>
        </p:txBody>
      </p:sp>
      <p:sp>
        <p:nvSpPr>
          <p:cNvPr id="6" name="Text Placeholder 4">
            <a:extLst>
              <a:ext uri="{FF2B5EF4-FFF2-40B4-BE49-F238E27FC236}">
                <a16:creationId xmlns:a16="http://schemas.microsoft.com/office/drawing/2014/main" id="{FD731F67-6AD6-C51A-9332-1610BC1A08A2}"/>
              </a:ext>
            </a:extLst>
          </p:cNvPr>
          <p:cNvSpPr>
            <a:spLocks noGrp="1"/>
          </p:cNvSpPr>
          <p:nvPr>
            <p:ph type="body" sz="quarter" idx="11" hasCustomPrompt="1"/>
          </p:nvPr>
        </p:nvSpPr>
        <p:spPr>
          <a:xfrm>
            <a:off x="285750" y="320647"/>
            <a:ext cx="8572500" cy="171450"/>
          </a:xfrm>
          <a:prstGeom prst="rect">
            <a:avLst/>
          </a:prstGeom>
        </p:spPr>
        <p:txBody>
          <a:bodyPr lIns="0" tIns="0" rIns="0" bIns="0" anchor="b" anchorCtr="0"/>
          <a:lstStyle>
            <a:lvl1pPr marL="0" indent="0">
              <a:buNone/>
              <a:defRPr sz="1050" b="1" i="0" spc="150" baseline="0">
                <a:solidFill>
                  <a:schemeClr val="accent2"/>
                </a:solidFill>
                <a:latin typeface="Manrope SemiBold" pitchFamily="2" charset="0"/>
              </a:defRPr>
            </a:lvl1pPr>
            <a:lvl2pPr marL="228594" indent="0">
              <a:buNone/>
              <a:defRPr/>
            </a:lvl2pPr>
            <a:lvl3pPr marL="457189" indent="0">
              <a:buNone/>
              <a:defRPr/>
            </a:lvl3pPr>
            <a:lvl4pPr marL="685783" indent="0">
              <a:buNone/>
              <a:defRPr/>
            </a:lvl4pPr>
            <a:lvl5pPr marL="914378" indent="0">
              <a:buNone/>
              <a:defRPr/>
            </a:lvl5pPr>
          </a:lstStyle>
          <a:p>
            <a:pPr lvl="0"/>
            <a:r>
              <a:rPr lang="en-US"/>
              <a:t>SUBHEAD</a:t>
            </a:r>
          </a:p>
        </p:txBody>
      </p:sp>
      <p:sp>
        <p:nvSpPr>
          <p:cNvPr id="8" name="Text Placeholder 14">
            <a:extLst>
              <a:ext uri="{FF2B5EF4-FFF2-40B4-BE49-F238E27FC236}">
                <a16:creationId xmlns:a16="http://schemas.microsoft.com/office/drawing/2014/main" id="{DE02D4B7-DE44-D063-9DC4-540F7BF51272}"/>
              </a:ext>
            </a:extLst>
          </p:cNvPr>
          <p:cNvSpPr>
            <a:spLocks noGrp="1"/>
          </p:cNvSpPr>
          <p:nvPr>
            <p:ph type="body" sz="quarter" idx="13" hasCustomPrompt="1"/>
          </p:nvPr>
        </p:nvSpPr>
        <p:spPr>
          <a:xfrm>
            <a:off x="285750" y="555631"/>
            <a:ext cx="8572500" cy="482600"/>
          </a:xfrm>
          <a:prstGeom prst="rect">
            <a:avLst/>
          </a:prstGeom>
        </p:spPr>
        <p:txBody>
          <a:bodyPr lIns="0" tIns="0" rIns="0" bIns="0" anchor="t" anchorCtr="0"/>
          <a:lstStyle>
            <a:lvl1pPr marL="0" indent="0">
              <a:buNone/>
              <a:defRPr sz="3000" b="1" i="0">
                <a:solidFill>
                  <a:schemeClr val="tx2"/>
                </a:solidFill>
                <a:latin typeface="Manrope SemiBold" pitchFamily="2" charset="0"/>
              </a:defRPr>
            </a:lvl1pPr>
            <a:lvl2pPr>
              <a:defRPr sz="3000" b="1" i="0">
                <a:latin typeface="Manrope SemiBold" pitchFamily="2" charset="0"/>
              </a:defRPr>
            </a:lvl2pPr>
            <a:lvl3pPr>
              <a:defRPr sz="3000" b="1" i="0">
                <a:latin typeface="Manrope SemiBold" pitchFamily="2" charset="0"/>
              </a:defRPr>
            </a:lvl3pPr>
            <a:lvl4pPr>
              <a:defRPr sz="3000" b="1" i="0">
                <a:latin typeface="Manrope SemiBold" pitchFamily="2" charset="0"/>
              </a:defRPr>
            </a:lvl4pPr>
            <a:lvl5pPr>
              <a:defRPr sz="3000" b="1" i="0">
                <a:latin typeface="Manrope SemiBold" pitchFamily="2" charset="0"/>
              </a:defRPr>
            </a:lvl5pPr>
          </a:lstStyle>
          <a:p>
            <a:pPr lvl="0"/>
            <a:r>
              <a:rPr lang="en-US"/>
              <a:t>Slide Title</a:t>
            </a:r>
          </a:p>
        </p:txBody>
      </p:sp>
      <p:pic>
        <p:nvPicPr>
          <p:cNvPr id="4" name="Picture 3">
            <a:extLst>
              <a:ext uri="{FF2B5EF4-FFF2-40B4-BE49-F238E27FC236}">
                <a16:creationId xmlns:a16="http://schemas.microsoft.com/office/drawing/2014/main" id="{EAD8BBBD-0582-4748-BE6A-E63CE7F339A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85750" y="4705684"/>
            <a:ext cx="877226" cy="164479"/>
          </a:xfrm>
          <a:prstGeom prst="rect">
            <a:avLst/>
          </a:prstGeom>
        </p:spPr>
      </p:pic>
    </p:spTree>
    <p:extLst>
      <p:ext uri="{BB962C8B-B14F-4D97-AF65-F5344CB8AC3E}">
        <p14:creationId xmlns:p14="http://schemas.microsoft.com/office/powerpoint/2010/main" val="63648559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ext Slide (with Photo)">
    <p:bg>
      <p:bgPr>
        <a:solidFill>
          <a:schemeClr val="bg2"/>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88FE3DB-DF6A-598B-A934-2F9A2ED2EA99}"/>
              </a:ext>
            </a:extLst>
          </p:cNvPr>
          <p:cNvSpPr>
            <a:spLocks noGrp="1"/>
          </p:cNvSpPr>
          <p:nvPr>
            <p:ph type="body" sz="quarter" idx="11" hasCustomPrompt="1"/>
          </p:nvPr>
        </p:nvSpPr>
        <p:spPr>
          <a:xfrm>
            <a:off x="285750" y="320647"/>
            <a:ext cx="4953000" cy="171450"/>
          </a:xfrm>
          <a:prstGeom prst="rect">
            <a:avLst/>
          </a:prstGeom>
        </p:spPr>
        <p:txBody>
          <a:bodyPr lIns="0" tIns="0" rIns="0" bIns="0" anchor="b" anchorCtr="0"/>
          <a:lstStyle>
            <a:lvl1pPr marL="0" indent="0">
              <a:buNone/>
              <a:defRPr sz="1050" b="1" i="0" spc="150" baseline="0">
                <a:solidFill>
                  <a:schemeClr val="accent2"/>
                </a:solidFill>
                <a:latin typeface="Arial" panose="020B0604020202020204" pitchFamily="34" charset="0"/>
              </a:defRPr>
            </a:lvl1pPr>
            <a:lvl2pPr marL="228582" indent="0">
              <a:buNone/>
              <a:defRPr/>
            </a:lvl2pPr>
            <a:lvl3pPr marL="457166" indent="0">
              <a:buNone/>
              <a:defRPr/>
            </a:lvl3pPr>
            <a:lvl4pPr marL="685749" indent="0">
              <a:buNone/>
              <a:defRPr/>
            </a:lvl4pPr>
            <a:lvl5pPr marL="914333" indent="0">
              <a:buNone/>
              <a:defRPr/>
            </a:lvl5pPr>
          </a:lstStyle>
          <a:p>
            <a:pPr lvl="0"/>
            <a:r>
              <a:rPr lang="en-US"/>
              <a:t>SUBHEAD</a:t>
            </a:r>
          </a:p>
        </p:txBody>
      </p:sp>
      <p:sp>
        <p:nvSpPr>
          <p:cNvPr id="13" name="Picture Placeholder 5">
            <a:extLst>
              <a:ext uri="{FF2B5EF4-FFF2-40B4-BE49-F238E27FC236}">
                <a16:creationId xmlns:a16="http://schemas.microsoft.com/office/drawing/2014/main" id="{924557D1-4054-4D1A-AFB9-10D69BBD4F3C}"/>
              </a:ext>
            </a:extLst>
          </p:cNvPr>
          <p:cNvSpPr>
            <a:spLocks noGrp="1"/>
          </p:cNvSpPr>
          <p:nvPr>
            <p:ph type="pic" sz="quarter" idx="12"/>
          </p:nvPr>
        </p:nvSpPr>
        <p:spPr>
          <a:xfrm>
            <a:off x="5962650" y="0"/>
            <a:ext cx="3181350" cy="5143500"/>
          </a:xfrm>
          <a:prstGeom prst="rect">
            <a:avLst/>
          </a:prstGeom>
          <a:solidFill>
            <a:schemeClr val="accent1"/>
          </a:solidFill>
        </p:spPr>
        <p:txBody>
          <a:bodyPr/>
          <a:lstStyle>
            <a:lvl1pPr>
              <a:defRPr>
                <a:noFill/>
                <a:latin typeface="Arial" panose="020B0604020202020204" pitchFamily="34" charset="0"/>
              </a:defRPr>
            </a:lvl1pPr>
          </a:lstStyle>
          <a:p>
            <a:r>
              <a:rPr lang="en-US"/>
              <a:t>Click icon to add picture</a:t>
            </a:r>
          </a:p>
        </p:txBody>
      </p:sp>
      <p:sp>
        <p:nvSpPr>
          <p:cNvPr id="15" name="Text Placeholder 14">
            <a:extLst>
              <a:ext uri="{FF2B5EF4-FFF2-40B4-BE49-F238E27FC236}">
                <a16:creationId xmlns:a16="http://schemas.microsoft.com/office/drawing/2014/main" id="{FD158A1B-49C5-7B46-15E1-8B25D2BBB7A8}"/>
              </a:ext>
            </a:extLst>
          </p:cNvPr>
          <p:cNvSpPr>
            <a:spLocks noGrp="1"/>
          </p:cNvSpPr>
          <p:nvPr>
            <p:ph type="body" sz="quarter" idx="13" hasCustomPrompt="1"/>
          </p:nvPr>
        </p:nvSpPr>
        <p:spPr>
          <a:xfrm>
            <a:off x="285750" y="555631"/>
            <a:ext cx="4953000" cy="482600"/>
          </a:xfrm>
          <a:prstGeom prst="rect">
            <a:avLst/>
          </a:prstGeom>
        </p:spPr>
        <p:txBody>
          <a:bodyPr lIns="0" tIns="0" rIns="0" bIns="0" anchor="t" anchorCtr="0"/>
          <a:lstStyle>
            <a:lvl1pPr marL="0" indent="0">
              <a:buNone/>
              <a:defRPr sz="3000" b="1" i="0">
                <a:solidFill>
                  <a:schemeClr val="tx2"/>
                </a:solidFill>
                <a:latin typeface="Arial" panose="020B0604020202020204" pitchFamily="34" charset="0"/>
              </a:defRPr>
            </a:lvl1pPr>
            <a:lvl2pPr>
              <a:defRPr sz="3000" b="1" i="0">
                <a:latin typeface="Manrope SemiBold" pitchFamily="2" charset="0"/>
              </a:defRPr>
            </a:lvl2pPr>
            <a:lvl3pPr>
              <a:defRPr sz="3000" b="1" i="0">
                <a:latin typeface="Manrope SemiBold" pitchFamily="2" charset="0"/>
              </a:defRPr>
            </a:lvl3pPr>
            <a:lvl4pPr>
              <a:defRPr sz="3000" b="1" i="0">
                <a:latin typeface="Manrope SemiBold" pitchFamily="2" charset="0"/>
              </a:defRPr>
            </a:lvl4pPr>
            <a:lvl5pPr>
              <a:defRPr sz="3000" b="1" i="0">
                <a:latin typeface="Manrope SemiBold" pitchFamily="2" charset="0"/>
              </a:defRPr>
            </a:lvl5pPr>
          </a:lstStyle>
          <a:p>
            <a:pPr lvl="0"/>
            <a:r>
              <a:rPr lang="en-US"/>
              <a:t>Slide Title</a:t>
            </a:r>
          </a:p>
        </p:txBody>
      </p:sp>
      <p:sp>
        <p:nvSpPr>
          <p:cNvPr id="7" name="Text Placeholder 9">
            <a:extLst>
              <a:ext uri="{FF2B5EF4-FFF2-40B4-BE49-F238E27FC236}">
                <a16:creationId xmlns:a16="http://schemas.microsoft.com/office/drawing/2014/main" id="{F8E05EAA-DA2D-A0BB-0A05-5F76F39D5B93}"/>
              </a:ext>
            </a:extLst>
          </p:cNvPr>
          <p:cNvSpPr>
            <a:spLocks noGrp="1"/>
          </p:cNvSpPr>
          <p:nvPr>
            <p:ph type="body" sz="quarter" idx="14" hasCustomPrompt="1"/>
          </p:nvPr>
        </p:nvSpPr>
        <p:spPr>
          <a:xfrm>
            <a:off x="285752" y="1423988"/>
            <a:ext cx="4943475" cy="1333500"/>
          </a:xfrm>
          <a:prstGeom prst="rect">
            <a:avLst/>
          </a:prstGeom>
        </p:spPr>
        <p:txBody>
          <a:bodyPr lIns="0" tIns="0" rIns="0" bIns="0"/>
          <a:lstStyle>
            <a:lvl1pPr marL="0" indent="0">
              <a:spcAft>
                <a:spcPts val="422"/>
              </a:spcAft>
              <a:buNone/>
              <a:defRPr sz="1400" b="0" i="0">
                <a:latin typeface="Arial" panose="020B0604020202020204" pitchFamily="34" charset="0"/>
              </a:defRPr>
            </a:lvl1pPr>
            <a:lvl2pPr>
              <a:defRPr sz="1400" b="0" i="0">
                <a:latin typeface="Manrope" pitchFamily="2" charset="0"/>
              </a:defRPr>
            </a:lvl2pPr>
            <a:lvl3pPr>
              <a:defRPr sz="1400" b="0" i="0">
                <a:latin typeface="Manrope" pitchFamily="2" charset="0"/>
              </a:defRPr>
            </a:lvl3pPr>
            <a:lvl4pPr>
              <a:defRPr sz="1400" b="0" i="0">
                <a:latin typeface="Manrope" pitchFamily="2" charset="0"/>
              </a:defRPr>
            </a:lvl4pPr>
            <a:lvl5pPr>
              <a:defRPr sz="1400" b="0" i="0">
                <a:latin typeface="Manrope" pitchFamily="2" charset="0"/>
              </a:defRPr>
            </a:lvl5pPr>
          </a:lstStyle>
          <a:p>
            <a:pPr>
              <a:spcAft>
                <a:spcPts val="563"/>
              </a:spcAft>
            </a:pPr>
            <a:r>
              <a:rPr lang="en-US" sz="1400">
                <a:solidFill>
                  <a:srgbClr val="000000"/>
                </a:solidFill>
                <a:latin typeface="Manrope" pitchFamily="2" charset="0"/>
              </a:rPr>
              <a:t>Lorem ipsum dolor sit </a:t>
            </a:r>
            <a:r>
              <a:rPr lang="en-US" sz="1400" err="1">
                <a:solidFill>
                  <a:srgbClr val="000000"/>
                </a:solidFill>
                <a:latin typeface="Manrope" pitchFamily="2" charset="0"/>
              </a:rPr>
              <a:t>amet</a:t>
            </a:r>
            <a:r>
              <a:rPr lang="en-US" sz="1400">
                <a:solidFill>
                  <a:srgbClr val="000000"/>
                </a:solidFill>
                <a:latin typeface="Manrope" pitchFamily="2" charset="0"/>
              </a:rPr>
              <a:t>, </a:t>
            </a:r>
            <a:r>
              <a:rPr lang="en-US" sz="1400" err="1">
                <a:solidFill>
                  <a:srgbClr val="000000"/>
                </a:solidFill>
                <a:latin typeface="Manrope" pitchFamily="2" charset="0"/>
              </a:rPr>
              <a:t>consectetur</a:t>
            </a:r>
            <a:r>
              <a:rPr lang="en-US" sz="1400">
                <a:solidFill>
                  <a:srgbClr val="000000"/>
                </a:solidFill>
                <a:latin typeface="Manrope" pitchFamily="2" charset="0"/>
              </a:rPr>
              <a:t> </a:t>
            </a:r>
            <a:r>
              <a:rPr lang="en-US" sz="1400" err="1">
                <a:solidFill>
                  <a:srgbClr val="000000"/>
                </a:solidFill>
                <a:latin typeface="Manrope" pitchFamily="2" charset="0"/>
              </a:rPr>
              <a:t>adipiscing</a:t>
            </a:r>
            <a:r>
              <a:rPr lang="en-US" sz="1400">
                <a:solidFill>
                  <a:srgbClr val="000000"/>
                </a:solidFill>
                <a:latin typeface="Manrope" pitchFamily="2" charset="0"/>
              </a:rPr>
              <a:t> </a:t>
            </a:r>
            <a:r>
              <a:rPr lang="en-US" sz="1400" err="1">
                <a:solidFill>
                  <a:srgbClr val="000000"/>
                </a:solidFill>
                <a:latin typeface="Manrope" pitchFamily="2" charset="0"/>
              </a:rPr>
              <a:t>elit</a:t>
            </a:r>
            <a:r>
              <a:rPr lang="en-US" sz="1400">
                <a:solidFill>
                  <a:srgbClr val="000000"/>
                </a:solidFill>
                <a:latin typeface="Manrope" pitchFamily="2" charset="0"/>
              </a:rPr>
              <a:t>. Vestibulum </a:t>
            </a:r>
            <a:r>
              <a:rPr lang="en-US" sz="1400" err="1">
                <a:solidFill>
                  <a:srgbClr val="000000"/>
                </a:solidFill>
                <a:latin typeface="Manrope" pitchFamily="2" charset="0"/>
              </a:rPr>
              <a:t>commodo</a:t>
            </a:r>
            <a:r>
              <a:rPr lang="en-US" sz="1400">
                <a:solidFill>
                  <a:srgbClr val="000000"/>
                </a:solidFill>
                <a:latin typeface="Manrope" pitchFamily="2" charset="0"/>
              </a:rPr>
              <a:t> </a:t>
            </a:r>
            <a:r>
              <a:rPr lang="en-US" sz="1400" err="1">
                <a:solidFill>
                  <a:srgbClr val="000000"/>
                </a:solidFill>
                <a:latin typeface="Manrope" pitchFamily="2" charset="0"/>
              </a:rPr>
              <a:t>mauris</a:t>
            </a:r>
            <a:r>
              <a:rPr lang="en-US" sz="1400">
                <a:solidFill>
                  <a:srgbClr val="000000"/>
                </a:solidFill>
                <a:latin typeface="Manrope" pitchFamily="2" charset="0"/>
              </a:rPr>
              <a:t> dui, id </a:t>
            </a:r>
            <a:r>
              <a:rPr lang="en-US" sz="1400" err="1">
                <a:solidFill>
                  <a:srgbClr val="000000"/>
                </a:solidFill>
                <a:latin typeface="Manrope" pitchFamily="2" charset="0"/>
              </a:rPr>
              <a:t>euismod</a:t>
            </a:r>
            <a:r>
              <a:rPr lang="en-US" sz="1400">
                <a:solidFill>
                  <a:srgbClr val="000000"/>
                </a:solidFill>
                <a:latin typeface="Manrope" pitchFamily="2" charset="0"/>
              </a:rPr>
              <a:t> diam gravida ac. </a:t>
            </a:r>
            <a:r>
              <a:rPr lang="en-US" sz="1400" err="1">
                <a:solidFill>
                  <a:srgbClr val="000000"/>
                </a:solidFill>
                <a:latin typeface="Manrope" pitchFamily="2" charset="0"/>
              </a:rPr>
              <a:t>Vivamus</a:t>
            </a:r>
            <a:r>
              <a:rPr lang="en-US" sz="1400">
                <a:solidFill>
                  <a:srgbClr val="000000"/>
                </a:solidFill>
                <a:latin typeface="Manrope" pitchFamily="2" charset="0"/>
              </a:rPr>
              <a:t> </a:t>
            </a:r>
            <a:r>
              <a:rPr lang="en-US" sz="1400" err="1">
                <a:solidFill>
                  <a:srgbClr val="000000"/>
                </a:solidFill>
                <a:latin typeface="Manrope" pitchFamily="2" charset="0"/>
              </a:rPr>
              <a:t>consectetur</a:t>
            </a:r>
            <a:r>
              <a:rPr lang="en-US" sz="1400">
                <a:solidFill>
                  <a:srgbClr val="000000"/>
                </a:solidFill>
                <a:latin typeface="Manrope" pitchFamily="2" charset="0"/>
              </a:rPr>
              <a:t>, eros at </a:t>
            </a:r>
            <a:r>
              <a:rPr lang="en-US" sz="1400" err="1">
                <a:solidFill>
                  <a:srgbClr val="000000"/>
                </a:solidFill>
                <a:latin typeface="Manrope" pitchFamily="2" charset="0"/>
              </a:rPr>
              <a:t>mollis</a:t>
            </a:r>
            <a:r>
              <a:rPr lang="en-US" sz="1400">
                <a:solidFill>
                  <a:srgbClr val="000000"/>
                </a:solidFill>
                <a:latin typeface="Manrope" pitchFamily="2" charset="0"/>
              </a:rPr>
              <a:t> </a:t>
            </a:r>
            <a:r>
              <a:rPr lang="en-US" sz="1400" err="1">
                <a:solidFill>
                  <a:srgbClr val="000000"/>
                </a:solidFill>
                <a:latin typeface="Manrope" pitchFamily="2" charset="0"/>
              </a:rPr>
              <a:t>accumsan</a:t>
            </a:r>
            <a:r>
              <a:rPr lang="en-US" sz="1400">
                <a:solidFill>
                  <a:srgbClr val="000000"/>
                </a:solidFill>
                <a:latin typeface="Manrope" pitchFamily="2" charset="0"/>
              </a:rPr>
              <a:t>, </a:t>
            </a:r>
            <a:r>
              <a:rPr lang="en-US" sz="1400" err="1">
                <a:solidFill>
                  <a:srgbClr val="000000"/>
                </a:solidFill>
                <a:latin typeface="Manrope" pitchFamily="2" charset="0"/>
              </a:rPr>
              <a:t>orci</a:t>
            </a:r>
            <a:r>
              <a:rPr lang="en-US" sz="1400">
                <a:solidFill>
                  <a:srgbClr val="000000"/>
                </a:solidFill>
                <a:latin typeface="Manrope" pitchFamily="2" charset="0"/>
              </a:rPr>
              <a:t> </a:t>
            </a:r>
            <a:r>
              <a:rPr lang="en-US" sz="1400" err="1">
                <a:solidFill>
                  <a:srgbClr val="000000"/>
                </a:solidFill>
                <a:latin typeface="Manrope" pitchFamily="2" charset="0"/>
              </a:rPr>
              <a:t>quam</a:t>
            </a:r>
            <a:r>
              <a:rPr lang="en-US" sz="1400">
                <a:solidFill>
                  <a:srgbClr val="000000"/>
                </a:solidFill>
                <a:latin typeface="Manrope" pitchFamily="2" charset="0"/>
              </a:rPr>
              <a:t> </a:t>
            </a:r>
            <a:r>
              <a:rPr lang="en-US" sz="1400" err="1">
                <a:solidFill>
                  <a:srgbClr val="000000"/>
                </a:solidFill>
                <a:latin typeface="Manrope" pitchFamily="2" charset="0"/>
              </a:rPr>
              <a:t>pellentesque</a:t>
            </a:r>
            <a:r>
              <a:rPr lang="en-US" sz="1400">
                <a:solidFill>
                  <a:srgbClr val="000000"/>
                </a:solidFill>
                <a:latin typeface="Manrope" pitchFamily="2" charset="0"/>
              </a:rPr>
              <a:t> </a:t>
            </a:r>
            <a:r>
              <a:rPr lang="en-US" sz="1400" err="1">
                <a:solidFill>
                  <a:srgbClr val="000000"/>
                </a:solidFill>
                <a:latin typeface="Manrope" pitchFamily="2" charset="0"/>
              </a:rPr>
              <a:t>leo</a:t>
            </a:r>
            <a:r>
              <a:rPr lang="en-US" sz="1400">
                <a:solidFill>
                  <a:srgbClr val="000000"/>
                </a:solidFill>
                <a:latin typeface="Manrope" pitchFamily="2" charset="0"/>
              </a:rPr>
              <a:t>, a </a:t>
            </a:r>
            <a:r>
              <a:rPr lang="en-US" sz="1400" err="1">
                <a:solidFill>
                  <a:srgbClr val="000000"/>
                </a:solidFill>
                <a:latin typeface="Manrope" pitchFamily="2" charset="0"/>
              </a:rPr>
              <a:t>consequat</a:t>
            </a:r>
            <a:r>
              <a:rPr lang="en-US" sz="1400">
                <a:solidFill>
                  <a:srgbClr val="000000"/>
                </a:solidFill>
                <a:latin typeface="Manrope" pitchFamily="2" charset="0"/>
              </a:rPr>
              <a:t> </a:t>
            </a:r>
            <a:r>
              <a:rPr lang="en-US" sz="1400" err="1">
                <a:solidFill>
                  <a:srgbClr val="000000"/>
                </a:solidFill>
                <a:latin typeface="Manrope" pitchFamily="2" charset="0"/>
              </a:rPr>
              <a:t>justo</a:t>
            </a:r>
            <a:r>
              <a:rPr lang="en-US" sz="1400">
                <a:solidFill>
                  <a:srgbClr val="000000"/>
                </a:solidFill>
                <a:latin typeface="Manrope" pitchFamily="2" charset="0"/>
              </a:rPr>
              <a:t> </a:t>
            </a:r>
            <a:r>
              <a:rPr lang="en-US" sz="1400" err="1">
                <a:solidFill>
                  <a:srgbClr val="000000"/>
                </a:solidFill>
                <a:latin typeface="Manrope" pitchFamily="2" charset="0"/>
              </a:rPr>
              <a:t>neque</a:t>
            </a:r>
            <a:r>
              <a:rPr lang="en-US" sz="1400">
                <a:solidFill>
                  <a:srgbClr val="000000"/>
                </a:solidFill>
                <a:latin typeface="Manrope" pitchFamily="2" charset="0"/>
              </a:rPr>
              <a:t> nec lorem. </a:t>
            </a:r>
            <a:r>
              <a:rPr lang="en-US" sz="1400" err="1">
                <a:solidFill>
                  <a:srgbClr val="000000"/>
                </a:solidFill>
                <a:latin typeface="Manrope" pitchFamily="2" charset="0"/>
              </a:rPr>
              <a:t>Suspendisse</a:t>
            </a:r>
            <a:r>
              <a:rPr lang="en-US" sz="1400">
                <a:solidFill>
                  <a:srgbClr val="000000"/>
                </a:solidFill>
                <a:latin typeface="Manrope" pitchFamily="2" charset="0"/>
              </a:rPr>
              <a:t> </a:t>
            </a:r>
            <a:r>
              <a:rPr lang="en-US" sz="1400" err="1">
                <a:solidFill>
                  <a:srgbClr val="000000"/>
                </a:solidFill>
                <a:latin typeface="Manrope" pitchFamily="2" charset="0"/>
              </a:rPr>
              <a:t>imperdiet</a:t>
            </a:r>
            <a:r>
              <a:rPr lang="en-US" sz="1400">
                <a:solidFill>
                  <a:srgbClr val="000000"/>
                </a:solidFill>
                <a:latin typeface="Manrope" pitchFamily="2" charset="0"/>
              </a:rPr>
              <a:t> </a:t>
            </a:r>
            <a:r>
              <a:rPr lang="en-US" sz="1400" err="1">
                <a:solidFill>
                  <a:srgbClr val="000000"/>
                </a:solidFill>
                <a:latin typeface="Manrope" pitchFamily="2" charset="0"/>
              </a:rPr>
              <a:t>ornare</a:t>
            </a:r>
            <a:r>
              <a:rPr lang="en-US" sz="1400">
                <a:solidFill>
                  <a:srgbClr val="000000"/>
                </a:solidFill>
                <a:latin typeface="Manrope" pitchFamily="2" charset="0"/>
              </a:rPr>
              <a:t> </a:t>
            </a:r>
            <a:r>
              <a:rPr lang="en-US" sz="1400" err="1">
                <a:solidFill>
                  <a:srgbClr val="000000"/>
                </a:solidFill>
                <a:latin typeface="Manrope" pitchFamily="2" charset="0"/>
              </a:rPr>
              <a:t>neque</a:t>
            </a:r>
            <a:r>
              <a:rPr lang="en-US" sz="1400">
                <a:solidFill>
                  <a:srgbClr val="000000"/>
                </a:solidFill>
                <a:latin typeface="Manrope" pitchFamily="2" charset="0"/>
              </a:rPr>
              <a:t> id </a:t>
            </a:r>
            <a:r>
              <a:rPr lang="en-US" sz="1400" err="1">
                <a:solidFill>
                  <a:srgbClr val="000000"/>
                </a:solidFill>
                <a:latin typeface="Manrope" pitchFamily="2" charset="0"/>
              </a:rPr>
              <a:t>ultrices</a:t>
            </a:r>
            <a:r>
              <a:rPr lang="en-US" sz="1400">
                <a:solidFill>
                  <a:srgbClr val="000000"/>
                </a:solidFill>
                <a:latin typeface="Manrope" pitchFamily="2" charset="0"/>
              </a:rPr>
              <a:t>. Morbi </a:t>
            </a:r>
            <a:r>
              <a:rPr lang="en-US" sz="1400" err="1">
                <a:solidFill>
                  <a:srgbClr val="000000"/>
                </a:solidFill>
                <a:latin typeface="Manrope" pitchFamily="2" charset="0"/>
              </a:rPr>
              <a:t>faucibus</a:t>
            </a:r>
            <a:r>
              <a:rPr lang="en-US" sz="1400">
                <a:solidFill>
                  <a:srgbClr val="000000"/>
                </a:solidFill>
                <a:latin typeface="Manrope" pitchFamily="2" charset="0"/>
              </a:rPr>
              <a:t> </a:t>
            </a:r>
            <a:r>
              <a:rPr lang="en-US" sz="1400" err="1">
                <a:solidFill>
                  <a:srgbClr val="000000"/>
                </a:solidFill>
                <a:latin typeface="Manrope" pitchFamily="2" charset="0"/>
              </a:rPr>
              <a:t>odio</a:t>
            </a:r>
            <a:r>
              <a:rPr lang="en-US" sz="1400">
                <a:solidFill>
                  <a:srgbClr val="000000"/>
                </a:solidFill>
                <a:latin typeface="Manrope" pitchFamily="2" charset="0"/>
              </a:rPr>
              <a:t> sit </a:t>
            </a:r>
            <a:r>
              <a:rPr lang="en-US" sz="1400" err="1">
                <a:solidFill>
                  <a:srgbClr val="000000"/>
                </a:solidFill>
                <a:latin typeface="Manrope" pitchFamily="2" charset="0"/>
              </a:rPr>
              <a:t>amet</a:t>
            </a:r>
            <a:r>
              <a:rPr lang="en-US" sz="1400">
                <a:solidFill>
                  <a:srgbClr val="000000"/>
                </a:solidFill>
                <a:latin typeface="Manrope" pitchFamily="2" charset="0"/>
              </a:rPr>
              <a:t> </a:t>
            </a:r>
            <a:r>
              <a:rPr lang="en-US" sz="1400" err="1">
                <a:solidFill>
                  <a:srgbClr val="000000"/>
                </a:solidFill>
                <a:latin typeface="Manrope" pitchFamily="2" charset="0"/>
              </a:rPr>
              <a:t>metus</a:t>
            </a:r>
            <a:r>
              <a:rPr lang="en-US" sz="1400">
                <a:solidFill>
                  <a:srgbClr val="000000"/>
                </a:solidFill>
                <a:latin typeface="Manrope" pitchFamily="2" charset="0"/>
              </a:rPr>
              <a:t> </a:t>
            </a:r>
            <a:r>
              <a:rPr lang="en-US" sz="1400" err="1">
                <a:solidFill>
                  <a:srgbClr val="000000"/>
                </a:solidFill>
                <a:latin typeface="Manrope" pitchFamily="2" charset="0"/>
              </a:rPr>
              <a:t>varius</a:t>
            </a:r>
            <a:r>
              <a:rPr lang="en-US" sz="1400">
                <a:solidFill>
                  <a:srgbClr val="000000"/>
                </a:solidFill>
                <a:latin typeface="Manrope" pitchFamily="2" charset="0"/>
              </a:rPr>
              <a:t>, in </a:t>
            </a:r>
            <a:r>
              <a:rPr lang="en-US" sz="1400" err="1">
                <a:solidFill>
                  <a:srgbClr val="000000"/>
                </a:solidFill>
                <a:latin typeface="Manrope" pitchFamily="2" charset="0"/>
              </a:rPr>
              <a:t>sodales</a:t>
            </a:r>
            <a:r>
              <a:rPr lang="en-US" sz="1400">
                <a:solidFill>
                  <a:srgbClr val="000000"/>
                </a:solidFill>
                <a:latin typeface="Manrope" pitchFamily="2" charset="0"/>
              </a:rPr>
              <a:t> ante </a:t>
            </a:r>
            <a:r>
              <a:rPr lang="en-US" sz="1400" err="1">
                <a:solidFill>
                  <a:srgbClr val="000000"/>
                </a:solidFill>
                <a:latin typeface="Manrope" pitchFamily="2" charset="0"/>
              </a:rPr>
              <a:t>tempor</a:t>
            </a:r>
            <a:r>
              <a:rPr lang="en-US" sz="1400">
                <a:solidFill>
                  <a:srgbClr val="000000"/>
                </a:solidFill>
                <a:latin typeface="Manrope" pitchFamily="2" charset="0"/>
              </a:rPr>
              <a:t>. </a:t>
            </a:r>
            <a:r>
              <a:rPr lang="en-US" sz="1400" err="1">
                <a:solidFill>
                  <a:srgbClr val="000000"/>
                </a:solidFill>
                <a:latin typeface="Manrope" pitchFamily="2" charset="0"/>
              </a:rPr>
              <a:t>Pellentesque</a:t>
            </a:r>
            <a:r>
              <a:rPr lang="en-US" sz="1400">
                <a:solidFill>
                  <a:srgbClr val="000000"/>
                </a:solidFill>
                <a:latin typeface="Manrope" pitchFamily="2" charset="0"/>
              </a:rPr>
              <a:t> porta </a:t>
            </a:r>
            <a:r>
              <a:rPr lang="en-US" sz="1400" err="1">
                <a:solidFill>
                  <a:srgbClr val="000000"/>
                </a:solidFill>
                <a:latin typeface="Manrope" pitchFamily="2" charset="0"/>
              </a:rPr>
              <a:t>accumsan</a:t>
            </a:r>
            <a:r>
              <a:rPr lang="en-US" sz="1400">
                <a:solidFill>
                  <a:srgbClr val="000000"/>
                </a:solidFill>
                <a:latin typeface="Manrope" pitchFamily="2" charset="0"/>
              </a:rPr>
              <a:t> </a:t>
            </a:r>
            <a:r>
              <a:rPr lang="en-US" sz="1400" err="1">
                <a:solidFill>
                  <a:srgbClr val="000000"/>
                </a:solidFill>
                <a:latin typeface="Manrope" pitchFamily="2" charset="0"/>
              </a:rPr>
              <a:t>leo</a:t>
            </a:r>
            <a:r>
              <a:rPr lang="en-US" sz="1400">
                <a:solidFill>
                  <a:srgbClr val="000000"/>
                </a:solidFill>
                <a:latin typeface="Manrope" pitchFamily="2" charset="0"/>
              </a:rPr>
              <a:t> sed </a:t>
            </a:r>
            <a:r>
              <a:rPr lang="en-US" sz="1400" err="1">
                <a:solidFill>
                  <a:srgbClr val="000000"/>
                </a:solidFill>
                <a:latin typeface="Manrope" pitchFamily="2" charset="0"/>
              </a:rPr>
              <a:t>tristique</a:t>
            </a:r>
            <a:r>
              <a:rPr lang="en-US" sz="1400">
                <a:solidFill>
                  <a:srgbClr val="000000"/>
                </a:solidFill>
                <a:latin typeface="Manrope" pitchFamily="2" charset="0"/>
              </a:rPr>
              <a:t>. Mauris </a:t>
            </a:r>
            <a:r>
              <a:rPr lang="en-US" sz="1400" err="1">
                <a:solidFill>
                  <a:srgbClr val="000000"/>
                </a:solidFill>
                <a:latin typeface="Manrope" pitchFamily="2" charset="0"/>
              </a:rPr>
              <a:t>eget</a:t>
            </a:r>
            <a:r>
              <a:rPr lang="en-US" sz="1400">
                <a:solidFill>
                  <a:srgbClr val="000000"/>
                </a:solidFill>
                <a:latin typeface="Manrope" pitchFamily="2" charset="0"/>
              </a:rPr>
              <a:t> </a:t>
            </a:r>
            <a:r>
              <a:rPr lang="en-US" sz="1400" err="1">
                <a:solidFill>
                  <a:srgbClr val="000000"/>
                </a:solidFill>
                <a:latin typeface="Manrope" pitchFamily="2" charset="0"/>
              </a:rPr>
              <a:t>egestas</a:t>
            </a:r>
            <a:r>
              <a:rPr lang="en-US" sz="1400">
                <a:solidFill>
                  <a:srgbClr val="000000"/>
                </a:solidFill>
                <a:latin typeface="Manrope" pitchFamily="2" charset="0"/>
              </a:rPr>
              <a:t> diam. </a:t>
            </a:r>
            <a:r>
              <a:rPr lang="en-US" sz="1400" err="1">
                <a:solidFill>
                  <a:srgbClr val="000000"/>
                </a:solidFill>
                <a:latin typeface="Manrope" pitchFamily="2" charset="0"/>
              </a:rPr>
              <a:t>Nullam</a:t>
            </a:r>
            <a:r>
              <a:rPr lang="en-US" sz="1400">
                <a:solidFill>
                  <a:srgbClr val="000000"/>
                </a:solidFill>
                <a:latin typeface="Manrope" pitchFamily="2" charset="0"/>
              </a:rPr>
              <a:t> </a:t>
            </a:r>
            <a:r>
              <a:rPr lang="en-US" sz="1400" err="1">
                <a:solidFill>
                  <a:srgbClr val="000000"/>
                </a:solidFill>
                <a:latin typeface="Manrope" pitchFamily="2" charset="0"/>
              </a:rPr>
              <a:t>sagittis</a:t>
            </a:r>
            <a:r>
              <a:rPr lang="en-US" sz="1400">
                <a:solidFill>
                  <a:srgbClr val="000000"/>
                </a:solidFill>
                <a:latin typeface="Manrope" pitchFamily="2" charset="0"/>
              </a:rPr>
              <a:t> </a:t>
            </a:r>
            <a:r>
              <a:rPr lang="en-US" sz="1400" err="1">
                <a:solidFill>
                  <a:srgbClr val="000000"/>
                </a:solidFill>
                <a:latin typeface="Manrope" pitchFamily="2" charset="0"/>
              </a:rPr>
              <a:t>viverra</a:t>
            </a:r>
            <a:r>
              <a:rPr lang="en-US" sz="1400">
                <a:solidFill>
                  <a:srgbClr val="000000"/>
                </a:solidFill>
                <a:latin typeface="Manrope" pitchFamily="2" charset="0"/>
              </a:rPr>
              <a:t> </a:t>
            </a:r>
            <a:r>
              <a:rPr lang="en-US" sz="1400" err="1">
                <a:solidFill>
                  <a:srgbClr val="000000"/>
                </a:solidFill>
                <a:latin typeface="Manrope" pitchFamily="2" charset="0"/>
              </a:rPr>
              <a:t>leo</a:t>
            </a:r>
            <a:r>
              <a:rPr lang="en-US" sz="1400">
                <a:solidFill>
                  <a:srgbClr val="000000"/>
                </a:solidFill>
                <a:latin typeface="Manrope" pitchFamily="2" charset="0"/>
              </a:rPr>
              <a:t> </a:t>
            </a:r>
            <a:r>
              <a:rPr lang="en-US" sz="1400" err="1">
                <a:solidFill>
                  <a:srgbClr val="000000"/>
                </a:solidFill>
                <a:latin typeface="Manrope" pitchFamily="2" charset="0"/>
              </a:rPr>
              <a:t>eu</a:t>
            </a:r>
            <a:r>
              <a:rPr lang="en-US" sz="1400">
                <a:solidFill>
                  <a:srgbClr val="000000"/>
                </a:solidFill>
                <a:latin typeface="Manrope" pitchFamily="2" charset="0"/>
              </a:rPr>
              <a:t> </a:t>
            </a:r>
            <a:r>
              <a:rPr lang="en-US" sz="1400" err="1">
                <a:solidFill>
                  <a:srgbClr val="000000"/>
                </a:solidFill>
                <a:latin typeface="Manrope" pitchFamily="2" charset="0"/>
              </a:rPr>
              <a:t>sodales</a:t>
            </a:r>
            <a:r>
              <a:rPr lang="en-US" sz="1400">
                <a:solidFill>
                  <a:srgbClr val="000000"/>
                </a:solidFill>
                <a:latin typeface="Manrope" pitchFamily="2" charset="0"/>
              </a:rPr>
              <a:t>. Donec </a:t>
            </a:r>
            <a:r>
              <a:rPr lang="en-US" sz="1400" err="1">
                <a:solidFill>
                  <a:srgbClr val="000000"/>
                </a:solidFill>
                <a:latin typeface="Manrope" pitchFamily="2" charset="0"/>
              </a:rPr>
              <a:t>quis</a:t>
            </a:r>
            <a:r>
              <a:rPr lang="en-US" sz="1400">
                <a:solidFill>
                  <a:srgbClr val="000000"/>
                </a:solidFill>
                <a:latin typeface="Manrope" pitchFamily="2" charset="0"/>
              </a:rPr>
              <a:t> pulvinar libero. </a:t>
            </a:r>
            <a:r>
              <a:rPr lang="en-US" sz="1400" err="1">
                <a:solidFill>
                  <a:srgbClr val="000000"/>
                </a:solidFill>
                <a:latin typeface="Manrope" pitchFamily="2" charset="0"/>
              </a:rPr>
              <a:t>Phasellus</a:t>
            </a:r>
            <a:r>
              <a:rPr lang="en-US" sz="1400">
                <a:solidFill>
                  <a:srgbClr val="000000"/>
                </a:solidFill>
                <a:latin typeface="Manrope" pitchFamily="2" charset="0"/>
              </a:rPr>
              <a:t> </a:t>
            </a:r>
            <a:r>
              <a:rPr lang="en-US" sz="1400" err="1">
                <a:solidFill>
                  <a:srgbClr val="000000"/>
                </a:solidFill>
                <a:latin typeface="Manrope" pitchFamily="2" charset="0"/>
              </a:rPr>
              <a:t>eu</a:t>
            </a:r>
            <a:r>
              <a:rPr lang="en-US" sz="1400">
                <a:solidFill>
                  <a:srgbClr val="000000"/>
                </a:solidFill>
                <a:latin typeface="Manrope" pitchFamily="2" charset="0"/>
              </a:rPr>
              <a:t> </a:t>
            </a:r>
            <a:r>
              <a:rPr lang="en-US" sz="1400" err="1">
                <a:solidFill>
                  <a:srgbClr val="000000"/>
                </a:solidFill>
                <a:latin typeface="Manrope" pitchFamily="2" charset="0"/>
              </a:rPr>
              <a:t>sapien</a:t>
            </a:r>
            <a:r>
              <a:rPr lang="en-US" sz="1400">
                <a:solidFill>
                  <a:srgbClr val="000000"/>
                </a:solidFill>
                <a:latin typeface="Manrope" pitchFamily="2" charset="0"/>
              </a:rPr>
              <a:t> dui. Donec </a:t>
            </a:r>
            <a:r>
              <a:rPr lang="en-US" sz="1400" err="1">
                <a:solidFill>
                  <a:srgbClr val="000000"/>
                </a:solidFill>
                <a:latin typeface="Manrope" pitchFamily="2" charset="0"/>
              </a:rPr>
              <a:t>quis</a:t>
            </a:r>
            <a:r>
              <a:rPr lang="en-US" sz="1400">
                <a:solidFill>
                  <a:srgbClr val="000000"/>
                </a:solidFill>
                <a:latin typeface="Manrope" pitchFamily="2" charset="0"/>
              </a:rPr>
              <a:t> </a:t>
            </a:r>
            <a:r>
              <a:rPr lang="en-US" sz="1400" err="1">
                <a:solidFill>
                  <a:srgbClr val="000000"/>
                </a:solidFill>
                <a:latin typeface="Manrope" pitchFamily="2" charset="0"/>
              </a:rPr>
              <a:t>mollis</a:t>
            </a:r>
            <a:r>
              <a:rPr lang="en-US" sz="1400">
                <a:solidFill>
                  <a:srgbClr val="000000"/>
                </a:solidFill>
                <a:latin typeface="Manrope" pitchFamily="2" charset="0"/>
              </a:rPr>
              <a:t> ipsum. </a:t>
            </a:r>
            <a:r>
              <a:rPr lang="en-US" sz="1400" err="1">
                <a:solidFill>
                  <a:srgbClr val="000000"/>
                </a:solidFill>
                <a:latin typeface="Manrope" pitchFamily="2" charset="0"/>
              </a:rPr>
              <a:t>Praesent</a:t>
            </a:r>
            <a:r>
              <a:rPr lang="en-US" sz="1400">
                <a:solidFill>
                  <a:srgbClr val="000000"/>
                </a:solidFill>
                <a:latin typeface="Manrope" pitchFamily="2" charset="0"/>
              </a:rPr>
              <a:t> et magna convallis, </a:t>
            </a:r>
            <a:r>
              <a:rPr lang="en-US" sz="1400" err="1">
                <a:solidFill>
                  <a:srgbClr val="000000"/>
                </a:solidFill>
                <a:latin typeface="Manrope" pitchFamily="2" charset="0"/>
              </a:rPr>
              <a:t>iaculis</a:t>
            </a:r>
            <a:r>
              <a:rPr lang="en-US" sz="1400">
                <a:solidFill>
                  <a:srgbClr val="000000"/>
                </a:solidFill>
                <a:latin typeface="Manrope" pitchFamily="2" charset="0"/>
              </a:rPr>
              <a:t> dolor id, </a:t>
            </a:r>
            <a:r>
              <a:rPr lang="en-US" sz="1400" err="1">
                <a:solidFill>
                  <a:srgbClr val="000000"/>
                </a:solidFill>
                <a:latin typeface="Manrope" pitchFamily="2" charset="0"/>
              </a:rPr>
              <a:t>dapibus</a:t>
            </a:r>
            <a:r>
              <a:rPr lang="en-US" sz="1400">
                <a:solidFill>
                  <a:srgbClr val="000000"/>
                </a:solidFill>
                <a:latin typeface="Manrope" pitchFamily="2" charset="0"/>
              </a:rPr>
              <a:t> </a:t>
            </a:r>
            <a:r>
              <a:rPr lang="en-US" sz="1400" err="1">
                <a:solidFill>
                  <a:srgbClr val="000000"/>
                </a:solidFill>
                <a:latin typeface="Manrope" pitchFamily="2" charset="0"/>
              </a:rPr>
              <a:t>nisl</a:t>
            </a:r>
            <a:r>
              <a:rPr lang="en-US" sz="1400">
                <a:solidFill>
                  <a:srgbClr val="000000"/>
                </a:solidFill>
                <a:latin typeface="Manrope" pitchFamily="2" charset="0"/>
              </a:rPr>
              <a:t>. </a:t>
            </a:r>
            <a:r>
              <a:rPr lang="en-US" sz="1400" err="1">
                <a:solidFill>
                  <a:srgbClr val="000000"/>
                </a:solidFill>
                <a:latin typeface="Manrope" pitchFamily="2" charset="0"/>
              </a:rPr>
              <a:t>Pellentesque</a:t>
            </a:r>
            <a:r>
              <a:rPr lang="en-US" sz="1400">
                <a:solidFill>
                  <a:srgbClr val="000000"/>
                </a:solidFill>
                <a:latin typeface="Manrope" pitchFamily="2" charset="0"/>
              </a:rPr>
              <a:t> nec </a:t>
            </a:r>
            <a:r>
              <a:rPr lang="en-US" sz="1400" err="1">
                <a:solidFill>
                  <a:srgbClr val="000000"/>
                </a:solidFill>
                <a:latin typeface="Manrope" pitchFamily="2" charset="0"/>
              </a:rPr>
              <a:t>erat</a:t>
            </a:r>
            <a:r>
              <a:rPr lang="en-US" sz="1400">
                <a:solidFill>
                  <a:srgbClr val="000000"/>
                </a:solidFill>
                <a:latin typeface="Manrope" pitchFamily="2" charset="0"/>
              </a:rPr>
              <a:t> </a:t>
            </a:r>
            <a:r>
              <a:rPr lang="en-US" sz="1400" err="1">
                <a:solidFill>
                  <a:srgbClr val="000000"/>
                </a:solidFill>
                <a:latin typeface="Manrope" pitchFamily="2" charset="0"/>
              </a:rPr>
              <a:t>odio</a:t>
            </a:r>
            <a:r>
              <a:rPr lang="en-US" sz="1400">
                <a:solidFill>
                  <a:srgbClr val="000000"/>
                </a:solidFill>
                <a:latin typeface="Manrope" pitchFamily="2" charset="0"/>
              </a:rPr>
              <a:t>.</a:t>
            </a:r>
            <a:endParaRPr lang="en-US" sz="1400">
              <a:latin typeface="Manrope" pitchFamily="2" charset="0"/>
              <a:cs typeface="Arial" panose="020B0604020202020204" pitchFamily="34" charset="0"/>
            </a:endParaRPr>
          </a:p>
        </p:txBody>
      </p:sp>
      <p:sp>
        <p:nvSpPr>
          <p:cNvPr id="10" name="Text Placeholder 8">
            <a:extLst>
              <a:ext uri="{FF2B5EF4-FFF2-40B4-BE49-F238E27FC236}">
                <a16:creationId xmlns:a16="http://schemas.microsoft.com/office/drawing/2014/main" id="{8FEA18FE-0BF6-884B-38FD-4E01D90C16F3}"/>
              </a:ext>
            </a:extLst>
          </p:cNvPr>
          <p:cNvSpPr>
            <a:spLocks noGrp="1"/>
          </p:cNvSpPr>
          <p:nvPr>
            <p:ph type="body" sz="quarter" idx="15"/>
          </p:nvPr>
        </p:nvSpPr>
        <p:spPr>
          <a:xfrm>
            <a:off x="7985127"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latin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837780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C1D3436-4F91-8940-0B83-54D780CD9654}"/>
              </a:ext>
            </a:extLst>
          </p:cNvPr>
          <p:cNvSpPr>
            <a:spLocks noGrp="1"/>
          </p:cNvSpPr>
          <p:nvPr>
            <p:ph type="body" sz="quarter" idx="14" hasCustomPrompt="1"/>
          </p:nvPr>
        </p:nvSpPr>
        <p:spPr>
          <a:xfrm>
            <a:off x="285750" y="1233488"/>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1</a:t>
            </a:r>
          </a:p>
        </p:txBody>
      </p:sp>
      <p:sp>
        <p:nvSpPr>
          <p:cNvPr id="2" name="Text Placeholder 6">
            <a:extLst>
              <a:ext uri="{FF2B5EF4-FFF2-40B4-BE49-F238E27FC236}">
                <a16:creationId xmlns:a16="http://schemas.microsoft.com/office/drawing/2014/main" id="{F6B2F609-78AA-5F11-9768-DD68BF2A8D54}"/>
              </a:ext>
            </a:extLst>
          </p:cNvPr>
          <p:cNvSpPr>
            <a:spLocks noGrp="1"/>
          </p:cNvSpPr>
          <p:nvPr>
            <p:ph type="body" sz="quarter" idx="15" hasCustomPrompt="1"/>
          </p:nvPr>
        </p:nvSpPr>
        <p:spPr>
          <a:xfrm>
            <a:off x="1022350" y="1233488"/>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1</a:t>
            </a:r>
          </a:p>
        </p:txBody>
      </p:sp>
      <p:sp>
        <p:nvSpPr>
          <p:cNvPr id="4" name="Text Placeholder 6">
            <a:extLst>
              <a:ext uri="{FF2B5EF4-FFF2-40B4-BE49-F238E27FC236}">
                <a16:creationId xmlns:a16="http://schemas.microsoft.com/office/drawing/2014/main" id="{E3E2F0AC-3875-2F60-ED20-97FFCC095793}"/>
              </a:ext>
            </a:extLst>
          </p:cNvPr>
          <p:cNvSpPr>
            <a:spLocks noGrp="1"/>
          </p:cNvSpPr>
          <p:nvPr>
            <p:ph type="body" sz="quarter" idx="16" hasCustomPrompt="1"/>
          </p:nvPr>
        </p:nvSpPr>
        <p:spPr>
          <a:xfrm>
            <a:off x="285750" y="1716089"/>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2</a:t>
            </a:r>
          </a:p>
        </p:txBody>
      </p:sp>
      <p:sp>
        <p:nvSpPr>
          <p:cNvPr id="6" name="Text Placeholder 6">
            <a:extLst>
              <a:ext uri="{FF2B5EF4-FFF2-40B4-BE49-F238E27FC236}">
                <a16:creationId xmlns:a16="http://schemas.microsoft.com/office/drawing/2014/main" id="{6C32DA99-99BE-8C43-43D7-11ABD5FF0A2E}"/>
              </a:ext>
            </a:extLst>
          </p:cNvPr>
          <p:cNvSpPr>
            <a:spLocks noGrp="1"/>
          </p:cNvSpPr>
          <p:nvPr>
            <p:ph type="body" sz="quarter" idx="17" hasCustomPrompt="1"/>
          </p:nvPr>
        </p:nvSpPr>
        <p:spPr>
          <a:xfrm>
            <a:off x="1022350" y="1716089"/>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2</a:t>
            </a:r>
          </a:p>
        </p:txBody>
      </p:sp>
      <p:sp>
        <p:nvSpPr>
          <p:cNvPr id="8" name="Text Placeholder 6">
            <a:extLst>
              <a:ext uri="{FF2B5EF4-FFF2-40B4-BE49-F238E27FC236}">
                <a16:creationId xmlns:a16="http://schemas.microsoft.com/office/drawing/2014/main" id="{F218A55C-5EE7-0628-72C1-E48CA4F2BCE4}"/>
              </a:ext>
            </a:extLst>
          </p:cNvPr>
          <p:cNvSpPr>
            <a:spLocks noGrp="1"/>
          </p:cNvSpPr>
          <p:nvPr>
            <p:ph type="body" sz="quarter" idx="18" hasCustomPrompt="1"/>
          </p:nvPr>
        </p:nvSpPr>
        <p:spPr>
          <a:xfrm>
            <a:off x="285750" y="2203769"/>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3</a:t>
            </a:r>
          </a:p>
        </p:txBody>
      </p:sp>
      <p:sp>
        <p:nvSpPr>
          <p:cNvPr id="9" name="Text Placeholder 6">
            <a:extLst>
              <a:ext uri="{FF2B5EF4-FFF2-40B4-BE49-F238E27FC236}">
                <a16:creationId xmlns:a16="http://schemas.microsoft.com/office/drawing/2014/main" id="{D7C34DD8-0A37-B804-6F63-E20000D3C014}"/>
              </a:ext>
            </a:extLst>
          </p:cNvPr>
          <p:cNvSpPr>
            <a:spLocks noGrp="1"/>
          </p:cNvSpPr>
          <p:nvPr>
            <p:ph type="body" sz="quarter" idx="19" hasCustomPrompt="1"/>
          </p:nvPr>
        </p:nvSpPr>
        <p:spPr>
          <a:xfrm>
            <a:off x="1022350" y="2203769"/>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3</a:t>
            </a:r>
          </a:p>
        </p:txBody>
      </p:sp>
      <p:sp>
        <p:nvSpPr>
          <p:cNvPr id="10" name="Text Placeholder 6">
            <a:extLst>
              <a:ext uri="{FF2B5EF4-FFF2-40B4-BE49-F238E27FC236}">
                <a16:creationId xmlns:a16="http://schemas.microsoft.com/office/drawing/2014/main" id="{1A46B87A-EEF8-BA18-CCB2-F6C27DA05AA8}"/>
              </a:ext>
            </a:extLst>
          </p:cNvPr>
          <p:cNvSpPr>
            <a:spLocks noGrp="1"/>
          </p:cNvSpPr>
          <p:nvPr>
            <p:ph type="body" sz="quarter" idx="20" hasCustomPrompt="1"/>
          </p:nvPr>
        </p:nvSpPr>
        <p:spPr>
          <a:xfrm>
            <a:off x="285750" y="2691449"/>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4</a:t>
            </a:r>
          </a:p>
        </p:txBody>
      </p:sp>
      <p:sp>
        <p:nvSpPr>
          <p:cNvPr id="11" name="Text Placeholder 6">
            <a:extLst>
              <a:ext uri="{FF2B5EF4-FFF2-40B4-BE49-F238E27FC236}">
                <a16:creationId xmlns:a16="http://schemas.microsoft.com/office/drawing/2014/main" id="{ADD1F142-139E-301B-ACD7-DFF89258A5FF}"/>
              </a:ext>
            </a:extLst>
          </p:cNvPr>
          <p:cNvSpPr>
            <a:spLocks noGrp="1"/>
          </p:cNvSpPr>
          <p:nvPr>
            <p:ph type="body" sz="quarter" idx="21" hasCustomPrompt="1"/>
          </p:nvPr>
        </p:nvSpPr>
        <p:spPr>
          <a:xfrm>
            <a:off x="1022350" y="2691449"/>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4</a:t>
            </a:r>
          </a:p>
        </p:txBody>
      </p:sp>
      <p:sp>
        <p:nvSpPr>
          <p:cNvPr id="12" name="Text Placeholder 6">
            <a:extLst>
              <a:ext uri="{FF2B5EF4-FFF2-40B4-BE49-F238E27FC236}">
                <a16:creationId xmlns:a16="http://schemas.microsoft.com/office/drawing/2014/main" id="{86A700CC-6EDB-44FC-86AC-29C50396786F}"/>
              </a:ext>
            </a:extLst>
          </p:cNvPr>
          <p:cNvSpPr>
            <a:spLocks noGrp="1"/>
          </p:cNvSpPr>
          <p:nvPr>
            <p:ph type="body" sz="quarter" idx="22" hasCustomPrompt="1"/>
          </p:nvPr>
        </p:nvSpPr>
        <p:spPr>
          <a:xfrm>
            <a:off x="285750" y="3165758"/>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5</a:t>
            </a:r>
          </a:p>
        </p:txBody>
      </p:sp>
      <p:sp>
        <p:nvSpPr>
          <p:cNvPr id="13" name="Text Placeholder 6">
            <a:extLst>
              <a:ext uri="{FF2B5EF4-FFF2-40B4-BE49-F238E27FC236}">
                <a16:creationId xmlns:a16="http://schemas.microsoft.com/office/drawing/2014/main" id="{CB04FE36-9811-E837-1568-A6B099EF3FCD}"/>
              </a:ext>
            </a:extLst>
          </p:cNvPr>
          <p:cNvSpPr>
            <a:spLocks noGrp="1"/>
          </p:cNvSpPr>
          <p:nvPr>
            <p:ph type="body" sz="quarter" idx="23" hasCustomPrompt="1"/>
          </p:nvPr>
        </p:nvSpPr>
        <p:spPr>
          <a:xfrm>
            <a:off x="1022350" y="3165758"/>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5</a:t>
            </a:r>
          </a:p>
        </p:txBody>
      </p:sp>
      <p:sp>
        <p:nvSpPr>
          <p:cNvPr id="14" name="Text Placeholder 6">
            <a:extLst>
              <a:ext uri="{FF2B5EF4-FFF2-40B4-BE49-F238E27FC236}">
                <a16:creationId xmlns:a16="http://schemas.microsoft.com/office/drawing/2014/main" id="{E286A9A1-9A6E-9803-DB9D-6460D97FA98F}"/>
              </a:ext>
            </a:extLst>
          </p:cNvPr>
          <p:cNvSpPr>
            <a:spLocks noGrp="1"/>
          </p:cNvSpPr>
          <p:nvPr>
            <p:ph type="body" sz="quarter" idx="24" hasCustomPrompt="1"/>
          </p:nvPr>
        </p:nvSpPr>
        <p:spPr>
          <a:xfrm>
            <a:off x="285750" y="3641944"/>
            <a:ext cx="609600" cy="366712"/>
          </a:xfrm>
          <a:prstGeom prst="rect">
            <a:avLst/>
          </a:prstGeom>
        </p:spPr>
        <p:txBody>
          <a:bodyPr lIns="0" tIns="0" rIns="0" bIns="0"/>
          <a:lstStyle>
            <a:lvl1pPr marL="0" indent="0">
              <a:buNone/>
              <a:defRPr sz="2000" b="1" i="0">
                <a:solidFill>
                  <a:schemeClr val="accent2"/>
                </a:solidFill>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06</a:t>
            </a:r>
          </a:p>
        </p:txBody>
      </p:sp>
      <p:sp>
        <p:nvSpPr>
          <p:cNvPr id="17" name="Text Placeholder 6">
            <a:extLst>
              <a:ext uri="{FF2B5EF4-FFF2-40B4-BE49-F238E27FC236}">
                <a16:creationId xmlns:a16="http://schemas.microsoft.com/office/drawing/2014/main" id="{ACACBD53-1F77-95BF-A84B-37DDD605B440}"/>
              </a:ext>
            </a:extLst>
          </p:cNvPr>
          <p:cNvSpPr>
            <a:spLocks noGrp="1"/>
          </p:cNvSpPr>
          <p:nvPr>
            <p:ph type="body" sz="quarter" idx="26" hasCustomPrompt="1"/>
          </p:nvPr>
        </p:nvSpPr>
        <p:spPr>
          <a:xfrm>
            <a:off x="1022350" y="3641944"/>
            <a:ext cx="7835900" cy="366712"/>
          </a:xfrm>
          <a:prstGeom prst="rect">
            <a:avLst/>
          </a:prstGeom>
        </p:spPr>
        <p:txBody>
          <a:bodyPr lIns="0" tIns="0" rIns="0" bIns="0"/>
          <a:lstStyle>
            <a:lvl1pPr marL="0" indent="0">
              <a:buNone/>
              <a:defRPr sz="2000" b="0" i="0">
                <a:latin typeface="Arial" panose="020B0604020202020204" pitchFamily="34" charset="0"/>
                <a:cs typeface="Arial" panose="020B0604020202020204" pitchFamily="34" charset="0"/>
              </a:defRPr>
            </a:lvl1pPr>
            <a:lvl2pPr>
              <a:defRPr sz="2400">
                <a:latin typeface="Manrope" pitchFamily="2" charset="0"/>
              </a:defRPr>
            </a:lvl2pPr>
            <a:lvl3pPr>
              <a:defRPr sz="2400">
                <a:latin typeface="Manrope" pitchFamily="2" charset="0"/>
              </a:defRPr>
            </a:lvl3pPr>
            <a:lvl4pPr>
              <a:defRPr sz="2400">
                <a:latin typeface="Manrope" pitchFamily="2" charset="0"/>
              </a:defRPr>
            </a:lvl4pPr>
            <a:lvl5pPr>
              <a:defRPr sz="2400">
                <a:latin typeface="Manrope" pitchFamily="2" charset="0"/>
              </a:defRPr>
            </a:lvl5pPr>
          </a:lstStyle>
          <a:p>
            <a:pPr lvl="0"/>
            <a:r>
              <a:rPr lang="en-US"/>
              <a:t>Item 6</a:t>
            </a:r>
          </a:p>
        </p:txBody>
      </p:sp>
      <p:pic>
        <p:nvPicPr>
          <p:cNvPr id="3" name="Picture 2">
            <a:extLst>
              <a:ext uri="{FF2B5EF4-FFF2-40B4-BE49-F238E27FC236}">
                <a16:creationId xmlns:a16="http://schemas.microsoft.com/office/drawing/2014/main" id="{1DA8F921-FE8E-6FF4-D884-D6F7EDAA2B3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515184"/>
            <a:ext cx="877226" cy="164479"/>
          </a:xfrm>
          <a:prstGeom prst="rect">
            <a:avLst/>
          </a:prstGeom>
        </p:spPr>
      </p:pic>
      <p:sp>
        <p:nvSpPr>
          <p:cNvPr id="5" name="Title 9">
            <a:extLst>
              <a:ext uri="{FF2B5EF4-FFF2-40B4-BE49-F238E27FC236}">
                <a16:creationId xmlns:a16="http://schemas.microsoft.com/office/drawing/2014/main" id="{2EAA0840-3B51-9D20-4704-EE4DC8935F7E}"/>
              </a:ext>
            </a:extLst>
          </p:cNvPr>
          <p:cNvSpPr>
            <a:spLocks noGrp="1"/>
          </p:cNvSpPr>
          <p:nvPr>
            <p:ph type="title" hasCustomPrompt="1"/>
          </p:nvPr>
        </p:nvSpPr>
        <p:spPr>
          <a:xfrm>
            <a:off x="285750" y="544678"/>
            <a:ext cx="8572500"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8" name="Rectangle 17">
            <a:extLst>
              <a:ext uri="{FF2B5EF4-FFF2-40B4-BE49-F238E27FC236}">
                <a16:creationId xmlns:a16="http://schemas.microsoft.com/office/drawing/2014/main" id="{985A87CE-9364-5FFF-AA80-C8D86C72C3E2}"/>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4">
            <a:extLst>
              <a:ext uri="{FF2B5EF4-FFF2-40B4-BE49-F238E27FC236}">
                <a16:creationId xmlns:a16="http://schemas.microsoft.com/office/drawing/2014/main" id="{AC9DAC98-D0EA-38C5-0498-6E5B09D37C24}"/>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702427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lumn Color Block Graphic">
    <p:bg>
      <p:bgPr>
        <a:solidFill>
          <a:schemeClr val="bg2"/>
        </a:solidFill>
        <a:effectLst/>
      </p:bgPr>
    </p:bg>
    <p:spTree>
      <p:nvGrpSpPr>
        <p:cNvPr id="1" name=""/>
        <p:cNvGrpSpPr/>
        <p:nvPr/>
      </p:nvGrpSpPr>
      <p:grpSpPr>
        <a:xfrm>
          <a:off x="0" y="0"/>
          <a:ext cx="0" cy="0"/>
          <a:chOff x="0" y="0"/>
          <a:chExt cx="0" cy="0"/>
        </a:xfrm>
      </p:grpSpPr>
      <p:sp>
        <p:nvSpPr>
          <p:cNvPr id="6" name="object 2" hidden="1">
            <a:extLst>
              <a:ext uri="{FF2B5EF4-FFF2-40B4-BE49-F238E27FC236}">
                <a16:creationId xmlns:a16="http://schemas.microsoft.com/office/drawing/2014/main" id="{4A90616F-93CA-3917-8251-B8E8BA54965C}"/>
              </a:ext>
            </a:extLst>
          </p:cNvPr>
          <p:cNvSpPr>
            <a:spLocks noGrp="1" noRot="1" noMove="1" noResize="1" noEditPoints="1" noAdjustHandles="1" noChangeArrowheads="1" noChangeShapeType="1"/>
          </p:cNvSpPr>
          <p:nvPr/>
        </p:nvSpPr>
        <p:spPr>
          <a:xfrm flipH="1">
            <a:off x="285750" y="5368973"/>
            <a:ext cx="2781300" cy="2976561"/>
          </a:xfrm>
          <a:custGeom>
            <a:avLst/>
            <a:gdLst/>
            <a:ahLst/>
            <a:cxnLst/>
            <a:rect l="l" t="t" r="r" b="b"/>
            <a:pathLst>
              <a:path w="5832475" h="5822315">
                <a:moveTo>
                  <a:pt x="5413458" y="0"/>
                </a:moveTo>
                <a:lnTo>
                  <a:pt x="418835" y="0"/>
                </a:lnTo>
                <a:lnTo>
                  <a:pt x="369991" y="2817"/>
                </a:lnTo>
                <a:lnTo>
                  <a:pt x="322801" y="11061"/>
                </a:lnTo>
                <a:lnTo>
                  <a:pt x="277581" y="24417"/>
                </a:lnTo>
                <a:lnTo>
                  <a:pt x="234643" y="42571"/>
                </a:lnTo>
                <a:lnTo>
                  <a:pt x="194304" y="65208"/>
                </a:lnTo>
                <a:lnTo>
                  <a:pt x="156876" y="92014"/>
                </a:lnTo>
                <a:lnTo>
                  <a:pt x="122675" y="122675"/>
                </a:lnTo>
                <a:lnTo>
                  <a:pt x="92014" y="156876"/>
                </a:lnTo>
                <a:lnTo>
                  <a:pt x="65208" y="194304"/>
                </a:lnTo>
                <a:lnTo>
                  <a:pt x="42571" y="234643"/>
                </a:lnTo>
                <a:lnTo>
                  <a:pt x="24417" y="277581"/>
                </a:lnTo>
                <a:lnTo>
                  <a:pt x="11061" y="322801"/>
                </a:lnTo>
                <a:lnTo>
                  <a:pt x="2817" y="369991"/>
                </a:lnTo>
                <a:lnTo>
                  <a:pt x="0" y="418835"/>
                </a:lnTo>
                <a:lnTo>
                  <a:pt x="0" y="5402976"/>
                </a:lnTo>
                <a:lnTo>
                  <a:pt x="2817" y="5451821"/>
                </a:lnTo>
                <a:lnTo>
                  <a:pt x="11061" y="5499010"/>
                </a:lnTo>
                <a:lnTo>
                  <a:pt x="24417" y="5544231"/>
                </a:lnTo>
                <a:lnTo>
                  <a:pt x="42571" y="5587168"/>
                </a:lnTo>
                <a:lnTo>
                  <a:pt x="65208" y="5627507"/>
                </a:lnTo>
                <a:lnTo>
                  <a:pt x="92014" y="5664935"/>
                </a:lnTo>
                <a:lnTo>
                  <a:pt x="122675" y="5699136"/>
                </a:lnTo>
                <a:lnTo>
                  <a:pt x="156876" y="5729797"/>
                </a:lnTo>
                <a:lnTo>
                  <a:pt x="194304" y="5756603"/>
                </a:lnTo>
                <a:lnTo>
                  <a:pt x="234643" y="5779240"/>
                </a:lnTo>
                <a:lnTo>
                  <a:pt x="277581" y="5797394"/>
                </a:lnTo>
                <a:lnTo>
                  <a:pt x="322801" y="5810750"/>
                </a:lnTo>
                <a:lnTo>
                  <a:pt x="369991" y="5818994"/>
                </a:lnTo>
                <a:lnTo>
                  <a:pt x="418835" y="5821812"/>
                </a:lnTo>
                <a:lnTo>
                  <a:pt x="5413458" y="5821812"/>
                </a:lnTo>
                <a:lnTo>
                  <a:pt x="5462302" y="5818994"/>
                </a:lnTo>
                <a:lnTo>
                  <a:pt x="5509492" y="5810750"/>
                </a:lnTo>
                <a:lnTo>
                  <a:pt x="5554712" y="5797394"/>
                </a:lnTo>
                <a:lnTo>
                  <a:pt x="5597649" y="5779240"/>
                </a:lnTo>
                <a:lnTo>
                  <a:pt x="5637989" y="5756603"/>
                </a:lnTo>
                <a:lnTo>
                  <a:pt x="5675416" y="5729797"/>
                </a:lnTo>
                <a:lnTo>
                  <a:pt x="5709618" y="5699136"/>
                </a:lnTo>
                <a:lnTo>
                  <a:pt x="5740278" y="5664935"/>
                </a:lnTo>
                <a:lnTo>
                  <a:pt x="5767084" y="5627507"/>
                </a:lnTo>
                <a:lnTo>
                  <a:pt x="5789721" y="5587168"/>
                </a:lnTo>
                <a:lnTo>
                  <a:pt x="5807875" y="5544231"/>
                </a:lnTo>
                <a:lnTo>
                  <a:pt x="5821231" y="5499010"/>
                </a:lnTo>
                <a:lnTo>
                  <a:pt x="5829475" y="5451821"/>
                </a:lnTo>
                <a:lnTo>
                  <a:pt x="5832293" y="5402976"/>
                </a:lnTo>
                <a:lnTo>
                  <a:pt x="5832293" y="418835"/>
                </a:lnTo>
                <a:lnTo>
                  <a:pt x="5829475" y="369991"/>
                </a:lnTo>
                <a:lnTo>
                  <a:pt x="5821231" y="322801"/>
                </a:lnTo>
                <a:lnTo>
                  <a:pt x="5807875" y="277581"/>
                </a:lnTo>
                <a:lnTo>
                  <a:pt x="5789721" y="234643"/>
                </a:lnTo>
                <a:lnTo>
                  <a:pt x="5767084" y="194304"/>
                </a:lnTo>
                <a:lnTo>
                  <a:pt x="5740278" y="156876"/>
                </a:lnTo>
                <a:lnTo>
                  <a:pt x="5709618" y="122675"/>
                </a:lnTo>
                <a:lnTo>
                  <a:pt x="5675416" y="92014"/>
                </a:lnTo>
                <a:lnTo>
                  <a:pt x="5637989" y="65208"/>
                </a:lnTo>
                <a:lnTo>
                  <a:pt x="5597649" y="42571"/>
                </a:lnTo>
                <a:lnTo>
                  <a:pt x="5554712" y="24417"/>
                </a:lnTo>
                <a:lnTo>
                  <a:pt x="5509492" y="11061"/>
                </a:lnTo>
                <a:lnTo>
                  <a:pt x="5462302" y="2817"/>
                </a:lnTo>
                <a:lnTo>
                  <a:pt x="5413458" y="0"/>
                </a:lnTo>
                <a:close/>
              </a:path>
            </a:pathLst>
          </a:custGeom>
          <a:solidFill>
            <a:schemeClr val="accent5">
              <a:lumMod val="40000"/>
              <a:lumOff val="60000"/>
            </a:schemeClr>
          </a:solidFill>
        </p:spPr>
        <p:txBody>
          <a:bodyPr wrap="square" lIns="182880" tIns="182880" rIns="182880" bIns="0" rtlCol="0"/>
          <a:lstStyle/>
          <a:p>
            <a:pPr>
              <a:spcAft>
                <a:spcPts val="1200"/>
              </a:spcAft>
            </a:pPr>
            <a:r>
              <a:rPr lang="en-US" sz="1400" b="0" i="0">
                <a:latin typeface="Arial" panose="020B0604020202020204" pitchFamily="34" charset="0"/>
              </a:rPr>
              <a:t>Poor Self-Awareness is a Patient Safety Problem</a:t>
            </a:r>
          </a:p>
          <a:p>
            <a:pPr marL="285736" indent="-285736">
              <a:buFont typeface="Arial" panose="020B0604020202020204" pitchFamily="34" charset="0"/>
              <a:buChar char="•"/>
            </a:pPr>
            <a:r>
              <a:rPr lang="en-US" sz="1400" b="0" i="0" spc="0">
                <a:latin typeface="Arial" panose="020B0604020202020204" pitchFamily="34" charset="0"/>
              </a:rPr>
              <a:t>Medical errors common, and often due to cognitive mistakes</a:t>
            </a:r>
          </a:p>
          <a:p>
            <a:pPr marL="285736" indent="-285736">
              <a:buFont typeface="Arial" panose="020B0604020202020204" pitchFamily="34" charset="0"/>
              <a:buChar char="•"/>
            </a:pPr>
            <a:r>
              <a:rPr lang="en-US" sz="1400" b="0" i="0" spc="0">
                <a:latin typeface="Arial" panose="020B0604020202020204" pitchFamily="34" charset="0"/>
              </a:rPr>
              <a:t>Little if any feedback, lack of humility</a:t>
            </a:r>
          </a:p>
          <a:p>
            <a:pPr marL="285736" indent="-285736">
              <a:buFont typeface="Arial" panose="020B0604020202020204" pitchFamily="34" charset="0"/>
              <a:buChar char="•"/>
            </a:pPr>
            <a:r>
              <a:rPr lang="en-US" sz="1400" b="0" i="0" spc="0">
                <a:latin typeface="Arial" panose="020B0604020202020204" pitchFamily="34" charset="0"/>
              </a:rPr>
              <a:t>Easy to ignore issues or blame something else when things go wrong</a:t>
            </a:r>
          </a:p>
          <a:p>
            <a:pPr marL="285736" indent="-285736">
              <a:buFont typeface="Arial" panose="020B0604020202020204" pitchFamily="34" charset="0"/>
              <a:buChar char="•"/>
            </a:pPr>
            <a:r>
              <a:rPr lang="en-US" sz="1400" b="0" i="0" spc="0">
                <a:latin typeface="Arial" panose="020B0604020202020204" pitchFamily="34" charset="0"/>
              </a:rPr>
              <a:t>Resistance to accountability</a:t>
            </a:r>
          </a:p>
          <a:p>
            <a:pPr marL="285736" indent="-285736">
              <a:buFont typeface="Arial" panose="020B0604020202020204" pitchFamily="34" charset="0"/>
              <a:buChar char="•"/>
            </a:pPr>
            <a:endParaRPr sz="1400" b="0" i="0">
              <a:latin typeface="Arial" panose="020B0604020202020204" pitchFamily="34" charset="0"/>
            </a:endParaRPr>
          </a:p>
        </p:txBody>
      </p:sp>
      <p:sp>
        <p:nvSpPr>
          <p:cNvPr id="11" name="object 2" hidden="1">
            <a:extLst>
              <a:ext uri="{FF2B5EF4-FFF2-40B4-BE49-F238E27FC236}">
                <a16:creationId xmlns:a16="http://schemas.microsoft.com/office/drawing/2014/main" id="{41B70424-9001-07EC-9002-39A6CC006F65}"/>
              </a:ext>
            </a:extLst>
          </p:cNvPr>
          <p:cNvSpPr>
            <a:spLocks noGrp="1" noRot="1" noMove="1" noResize="1" noEditPoints="1" noAdjustHandles="1" noChangeArrowheads="1" noChangeShapeType="1"/>
          </p:cNvSpPr>
          <p:nvPr/>
        </p:nvSpPr>
        <p:spPr>
          <a:xfrm flipH="1">
            <a:off x="3181350" y="5368973"/>
            <a:ext cx="2781300" cy="2976561"/>
          </a:xfrm>
          <a:custGeom>
            <a:avLst/>
            <a:gdLst/>
            <a:ahLst/>
            <a:cxnLst/>
            <a:rect l="l" t="t" r="r" b="b"/>
            <a:pathLst>
              <a:path w="5832475" h="5822315">
                <a:moveTo>
                  <a:pt x="5413458" y="0"/>
                </a:moveTo>
                <a:lnTo>
                  <a:pt x="418835" y="0"/>
                </a:lnTo>
                <a:lnTo>
                  <a:pt x="369991" y="2817"/>
                </a:lnTo>
                <a:lnTo>
                  <a:pt x="322801" y="11061"/>
                </a:lnTo>
                <a:lnTo>
                  <a:pt x="277581" y="24417"/>
                </a:lnTo>
                <a:lnTo>
                  <a:pt x="234643" y="42571"/>
                </a:lnTo>
                <a:lnTo>
                  <a:pt x="194304" y="65208"/>
                </a:lnTo>
                <a:lnTo>
                  <a:pt x="156876" y="92014"/>
                </a:lnTo>
                <a:lnTo>
                  <a:pt x="122675" y="122675"/>
                </a:lnTo>
                <a:lnTo>
                  <a:pt x="92014" y="156876"/>
                </a:lnTo>
                <a:lnTo>
                  <a:pt x="65208" y="194304"/>
                </a:lnTo>
                <a:lnTo>
                  <a:pt x="42571" y="234643"/>
                </a:lnTo>
                <a:lnTo>
                  <a:pt x="24417" y="277581"/>
                </a:lnTo>
                <a:lnTo>
                  <a:pt x="11061" y="322801"/>
                </a:lnTo>
                <a:lnTo>
                  <a:pt x="2817" y="369991"/>
                </a:lnTo>
                <a:lnTo>
                  <a:pt x="0" y="418835"/>
                </a:lnTo>
                <a:lnTo>
                  <a:pt x="0" y="5402976"/>
                </a:lnTo>
                <a:lnTo>
                  <a:pt x="2817" y="5451821"/>
                </a:lnTo>
                <a:lnTo>
                  <a:pt x="11061" y="5499010"/>
                </a:lnTo>
                <a:lnTo>
                  <a:pt x="24417" y="5544231"/>
                </a:lnTo>
                <a:lnTo>
                  <a:pt x="42571" y="5587168"/>
                </a:lnTo>
                <a:lnTo>
                  <a:pt x="65208" y="5627507"/>
                </a:lnTo>
                <a:lnTo>
                  <a:pt x="92014" y="5664935"/>
                </a:lnTo>
                <a:lnTo>
                  <a:pt x="122675" y="5699136"/>
                </a:lnTo>
                <a:lnTo>
                  <a:pt x="156876" y="5729797"/>
                </a:lnTo>
                <a:lnTo>
                  <a:pt x="194304" y="5756603"/>
                </a:lnTo>
                <a:lnTo>
                  <a:pt x="234643" y="5779240"/>
                </a:lnTo>
                <a:lnTo>
                  <a:pt x="277581" y="5797394"/>
                </a:lnTo>
                <a:lnTo>
                  <a:pt x="322801" y="5810750"/>
                </a:lnTo>
                <a:lnTo>
                  <a:pt x="369991" y="5818994"/>
                </a:lnTo>
                <a:lnTo>
                  <a:pt x="418835" y="5821812"/>
                </a:lnTo>
                <a:lnTo>
                  <a:pt x="5413458" y="5821812"/>
                </a:lnTo>
                <a:lnTo>
                  <a:pt x="5462302" y="5818994"/>
                </a:lnTo>
                <a:lnTo>
                  <a:pt x="5509492" y="5810750"/>
                </a:lnTo>
                <a:lnTo>
                  <a:pt x="5554712" y="5797394"/>
                </a:lnTo>
                <a:lnTo>
                  <a:pt x="5597649" y="5779240"/>
                </a:lnTo>
                <a:lnTo>
                  <a:pt x="5637989" y="5756603"/>
                </a:lnTo>
                <a:lnTo>
                  <a:pt x="5675416" y="5729797"/>
                </a:lnTo>
                <a:lnTo>
                  <a:pt x="5709618" y="5699136"/>
                </a:lnTo>
                <a:lnTo>
                  <a:pt x="5740278" y="5664935"/>
                </a:lnTo>
                <a:lnTo>
                  <a:pt x="5767084" y="5627507"/>
                </a:lnTo>
                <a:lnTo>
                  <a:pt x="5789721" y="5587168"/>
                </a:lnTo>
                <a:lnTo>
                  <a:pt x="5807875" y="5544231"/>
                </a:lnTo>
                <a:lnTo>
                  <a:pt x="5821231" y="5499010"/>
                </a:lnTo>
                <a:lnTo>
                  <a:pt x="5829475" y="5451821"/>
                </a:lnTo>
                <a:lnTo>
                  <a:pt x="5832293" y="5402976"/>
                </a:lnTo>
                <a:lnTo>
                  <a:pt x="5832293" y="418835"/>
                </a:lnTo>
                <a:lnTo>
                  <a:pt x="5829475" y="369991"/>
                </a:lnTo>
                <a:lnTo>
                  <a:pt x="5821231" y="322801"/>
                </a:lnTo>
                <a:lnTo>
                  <a:pt x="5807875" y="277581"/>
                </a:lnTo>
                <a:lnTo>
                  <a:pt x="5789721" y="234643"/>
                </a:lnTo>
                <a:lnTo>
                  <a:pt x="5767084" y="194304"/>
                </a:lnTo>
                <a:lnTo>
                  <a:pt x="5740278" y="156876"/>
                </a:lnTo>
                <a:lnTo>
                  <a:pt x="5709618" y="122675"/>
                </a:lnTo>
                <a:lnTo>
                  <a:pt x="5675416" y="92014"/>
                </a:lnTo>
                <a:lnTo>
                  <a:pt x="5637989" y="65208"/>
                </a:lnTo>
                <a:lnTo>
                  <a:pt x="5597649" y="42571"/>
                </a:lnTo>
                <a:lnTo>
                  <a:pt x="5554712" y="24417"/>
                </a:lnTo>
                <a:lnTo>
                  <a:pt x="5509492" y="11061"/>
                </a:lnTo>
                <a:lnTo>
                  <a:pt x="5462302" y="2817"/>
                </a:lnTo>
                <a:lnTo>
                  <a:pt x="5413458" y="0"/>
                </a:lnTo>
                <a:close/>
              </a:path>
            </a:pathLst>
          </a:custGeom>
          <a:solidFill>
            <a:schemeClr val="accent3">
              <a:lumMod val="60000"/>
              <a:lumOff val="40000"/>
            </a:schemeClr>
          </a:solidFill>
        </p:spPr>
        <p:txBody>
          <a:bodyPr wrap="square" lIns="182880" tIns="182880" rIns="182880" bIns="0" rtlCol="0"/>
          <a:lstStyle/>
          <a:p>
            <a:pPr>
              <a:spcAft>
                <a:spcPts val="1200"/>
              </a:spcAft>
            </a:pPr>
            <a:r>
              <a:rPr lang="en-US" sz="1400" b="0" i="0">
                <a:latin typeface="Arial" panose="020B0604020202020204" pitchFamily="34" charset="0"/>
              </a:rPr>
              <a:t>Accurate Self-Assessment is Intrinsically Difficult</a:t>
            </a:r>
          </a:p>
          <a:p>
            <a:pPr marL="285736" indent="-285736">
              <a:buFont typeface="Arial" panose="020B0604020202020204" pitchFamily="34" charset="0"/>
              <a:buChar char="•"/>
            </a:pPr>
            <a:r>
              <a:rPr lang="en-US" sz="1400" b="0" i="0" spc="0">
                <a:latin typeface="Arial" panose="020B0604020202020204" pitchFamily="34" charset="0"/>
              </a:rPr>
              <a:t>False beliefs have the look and feel of truth</a:t>
            </a:r>
          </a:p>
          <a:p>
            <a:pPr marL="285736" indent="-285736">
              <a:buFont typeface="Arial" panose="020B0604020202020204" pitchFamily="34" charset="0"/>
              <a:buChar char="•"/>
            </a:pPr>
            <a:r>
              <a:rPr lang="en-US" sz="1400" b="0" i="0" spc="0">
                <a:latin typeface="Arial" panose="020B0604020202020204" pitchFamily="34" charset="0"/>
              </a:rPr>
              <a:t>Low correlation between perception of availability and reality</a:t>
            </a:r>
          </a:p>
          <a:p>
            <a:pPr marL="285736" indent="-285736">
              <a:buFont typeface="Arial" panose="020B0604020202020204" pitchFamily="34" charset="0"/>
              <a:buChar char="•"/>
            </a:pPr>
            <a:r>
              <a:rPr lang="en-US" sz="1400" b="0" i="0" spc="0">
                <a:latin typeface="Arial" panose="020B0604020202020204" pitchFamily="34" charset="0"/>
              </a:rPr>
              <a:t>Pervasive overconfidence</a:t>
            </a:r>
          </a:p>
          <a:p>
            <a:pPr marL="285736" indent="-285736">
              <a:buFont typeface="Arial" panose="020B0604020202020204" pitchFamily="34" charset="0"/>
              <a:buChar char="•"/>
            </a:pPr>
            <a:r>
              <a:rPr lang="en-US" sz="1400" b="0" i="0" spc="0">
                <a:latin typeface="Arial" panose="020B0604020202020204" pitchFamily="34" charset="0"/>
              </a:rPr>
              <a:t>Unknown unknowns</a:t>
            </a:r>
          </a:p>
          <a:p>
            <a:pPr marL="285736" indent="-285736">
              <a:buFont typeface="Arial" panose="020B0604020202020204" pitchFamily="34" charset="0"/>
              <a:buChar char="•"/>
            </a:pPr>
            <a:endParaRPr sz="1400" b="0" i="0">
              <a:latin typeface="Arial" panose="020B0604020202020204" pitchFamily="34" charset="0"/>
            </a:endParaRPr>
          </a:p>
        </p:txBody>
      </p:sp>
      <p:sp>
        <p:nvSpPr>
          <p:cNvPr id="12" name="object 2" hidden="1">
            <a:extLst>
              <a:ext uri="{FF2B5EF4-FFF2-40B4-BE49-F238E27FC236}">
                <a16:creationId xmlns:a16="http://schemas.microsoft.com/office/drawing/2014/main" id="{C3B5D209-6F57-E422-6C99-D8E34881A51E}"/>
              </a:ext>
            </a:extLst>
          </p:cNvPr>
          <p:cNvSpPr>
            <a:spLocks noGrp="1" noRot="1" noMove="1" noResize="1" noEditPoints="1" noAdjustHandles="1" noChangeArrowheads="1" noChangeShapeType="1"/>
          </p:cNvSpPr>
          <p:nvPr/>
        </p:nvSpPr>
        <p:spPr>
          <a:xfrm flipH="1">
            <a:off x="6076950" y="5368973"/>
            <a:ext cx="2781300" cy="2976561"/>
          </a:xfrm>
          <a:custGeom>
            <a:avLst/>
            <a:gdLst/>
            <a:ahLst/>
            <a:cxnLst/>
            <a:rect l="l" t="t" r="r" b="b"/>
            <a:pathLst>
              <a:path w="5832475" h="5822315">
                <a:moveTo>
                  <a:pt x="5413458" y="0"/>
                </a:moveTo>
                <a:lnTo>
                  <a:pt x="418835" y="0"/>
                </a:lnTo>
                <a:lnTo>
                  <a:pt x="369991" y="2817"/>
                </a:lnTo>
                <a:lnTo>
                  <a:pt x="322801" y="11061"/>
                </a:lnTo>
                <a:lnTo>
                  <a:pt x="277581" y="24417"/>
                </a:lnTo>
                <a:lnTo>
                  <a:pt x="234643" y="42571"/>
                </a:lnTo>
                <a:lnTo>
                  <a:pt x="194304" y="65208"/>
                </a:lnTo>
                <a:lnTo>
                  <a:pt x="156876" y="92014"/>
                </a:lnTo>
                <a:lnTo>
                  <a:pt x="122675" y="122675"/>
                </a:lnTo>
                <a:lnTo>
                  <a:pt x="92014" y="156876"/>
                </a:lnTo>
                <a:lnTo>
                  <a:pt x="65208" y="194304"/>
                </a:lnTo>
                <a:lnTo>
                  <a:pt x="42571" y="234643"/>
                </a:lnTo>
                <a:lnTo>
                  <a:pt x="24417" y="277581"/>
                </a:lnTo>
                <a:lnTo>
                  <a:pt x="11061" y="322801"/>
                </a:lnTo>
                <a:lnTo>
                  <a:pt x="2817" y="369991"/>
                </a:lnTo>
                <a:lnTo>
                  <a:pt x="0" y="418835"/>
                </a:lnTo>
                <a:lnTo>
                  <a:pt x="0" y="5402976"/>
                </a:lnTo>
                <a:lnTo>
                  <a:pt x="2817" y="5451821"/>
                </a:lnTo>
                <a:lnTo>
                  <a:pt x="11061" y="5499010"/>
                </a:lnTo>
                <a:lnTo>
                  <a:pt x="24417" y="5544231"/>
                </a:lnTo>
                <a:lnTo>
                  <a:pt x="42571" y="5587168"/>
                </a:lnTo>
                <a:lnTo>
                  <a:pt x="65208" y="5627507"/>
                </a:lnTo>
                <a:lnTo>
                  <a:pt x="92014" y="5664935"/>
                </a:lnTo>
                <a:lnTo>
                  <a:pt x="122675" y="5699136"/>
                </a:lnTo>
                <a:lnTo>
                  <a:pt x="156876" y="5729797"/>
                </a:lnTo>
                <a:lnTo>
                  <a:pt x="194304" y="5756603"/>
                </a:lnTo>
                <a:lnTo>
                  <a:pt x="234643" y="5779240"/>
                </a:lnTo>
                <a:lnTo>
                  <a:pt x="277581" y="5797394"/>
                </a:lnTo>
                <a:lnTo>
                  <a:pt x="322801" y="5810750"/>
                </a:lnTo>
                <a:lnTo>
                  <a:pt x="369991" y="5818994"/>
                </a:lnTo>
                <a:lnTo>
                  <a:pt x="418835" y="5821812"/>
                </a:lnTo>
                <a:lnTo>
                  <a:pt x="5413458" y="5821812"/>
                </a:lnTo>
                <a:lnTo>
                  <a:pt x="5462302" y="5818994"/>
                </a:lnTo>
                <a:lnTo>
                  <a:pt x="5509492" y="5810750"/>
                </a:lnTo>
                <a:lnTo>
                  <a:pt x="5554712" y="5797394"/>
                </a:lnTo>
                <a:lnTo>
                  <a:pt x="5597649" y="5779240"/>
                </a:lnTo>
                <a:lnTo>
                  <a:pt x="5637989" y="5756603"/>
                </a:lnTo>
                <a:lnTo>
                  <a:pt x="5675416" y="5729797"/>
                </a:lnTo>
                <a:lnTo>
                  <a:pt x="5709618" y="5699136"/>
                </a:lnTo>
                <a:lnTo>
                  <a:pt x="5740278" y="5664935"/>
                </a:lnTo>
                <a:lnTo>
                  <a:pt x="5767084" y="5627507"/>
                </a:lnTo>
                <a:lnTo>
                  <a:pt x="5789721" y="5587168"/>
                </a:lnTo>
                <a:lnTo>
                  <a:pt x="5807875" y="5544231"/>
                </a:lnTo>
                <a:lnTo>
                  <a:pt x="5821231" y="5499010"/>
                </a:lnTo>
                <a:lnTo>
                  <a:pt x="5829475" y="5451821"/>
                </a:lnTo>
                <a:lnTo>
                  <a:pt x="5832293" y="5402976"/>
                </a:lnTo>
                <a:lnTo>
                  <a:pt x="5832293" y="418835"/>
                </a:lnTo>
                <a:lnTo>
                  <a:pt x="5829475" y="369991"/>
                </a:lnTo>
                <a:lnTo>
                  <a:pt x="5821231" y="322801"/>
                </a:lnTo>
                <a:lnTo>
                  <a:pt x="5807875" y="277581"/>
                </a:lnTo>
                <a:lnTo>
                  <a:pt x="5789721" y="234643"/>
                </a:lnTo>
                <a:lnTo>
                  <a:pt x="5767084" y="194304"/>
                </a:lnTo>
                <a:lnTo>
                  <a:pt x="5740278" y="156876"/>
                </a:lnTo>
                <a:lnTo>
                  <a:pt x="5709618" y="122675"/>
                </a:lnTo>
                <a:lnTo>
                  <a:pt x="5675416" y="92014"/>
                </a:lnTo>
                <a:lnTo>
                  <a:pt x="5637989" y="65208"/>
                </a:lnTo>
                <a:lnTo>
                  <a:pt x="5597649" y="42571"/>
                </a:lnTo>
                <a:lnTo>
                  <a:pt x="5554712" y="24417"/>
                </a:lnTo>
                <a:lnTo>
                  <a:pt x="5509492" y="11061"/>
                </a:lnTo>
                <a:lnTo>
                  <a:pt x="5462302" y="2817"/>
                </a:lnTo>
                <a:lnTo>
                  <a:pt x="5413458" y="0"/>
                </a:lnTo>
                <a:close/>
              </a:path>
            </a:pathLst>
          </a:custGeom>
          <a:solidFill>
            <a:schemeClr val="accent4">
              <a:lumMod val="20000"/>
              <a:lumOff val="80000"/>
            </a:schemeClr>
          </a:solidFill>
        </p:spPr>
        <p:txBody>
          <a:bodyPr wrap="square" lIns="182880" tIns="182880" rIns="182880" bIns="0" rtlCol="0"/>
          <a:lstStyle/>
          <a:p>
            <a:pPr>
              <a:spcAft>
                <a:spcPts val="1200"/>
              </a:spcAft>
            </a:pPr>
            <a:r>
              <a:rPr lang="en-US" sz="1400" b="0" i="0">
                <a:latin typeface="Arial" panose="020B0604020202020204" pitchFamily="34" charset="0"/>
              </a:rPr>
              <a:t>People Seek improvement for Their Strengths, not Weaknesses</a:t>
            </a:r>
          </a:p>
          <a:p>
            <a:pPr marL="285736" indent="-285736">
              <a:buFont typeface="Arial" panose="020B0604020202020204" pitchFamily="34" charset="0"/>
              <a:buChar char="•"/>
            </a:pPr>
            <a:r>
              <a:rPr lang="en-US" sz="1400" b="0" i="0" spc="0">
                <a:latin typeface="Arial" panose="020B0604020202020204" pitchFamily="34" charset="0"/>
              </a:rPr>
              <a:t>Seeing and hearing familiar material improves self-confidence</a:t>
            </a:r>
          </a:p>
          <a:p>
            <a:pPr marL="285736" indent="-285736">
              <a:buFont typeface="Arial" panose="020B0604020202020204" pitchFamily="34" charset="0"/>
              <a:buChar char="•"/>
            </a:pPr>
            <a:r>
              <a:rPr lang="en-US" sz="1400" b="0" i="0" spc="0">
                <a:latin typeface="Arial" panose="020B0604020202020204" pitchFamily="34" charset="0"/>
              </a:rPr>
              <a:t>There is comfort in the familiar</a:t>
            </a:r>
          </a:p>
          <a:p>
            <a:pPr marL="285736" indent="-285736">
              <a:buFont typeface="Arial" panose="020B0604020202020204" pitchFamily="34" charset="0"/>
              <a:buChar char="•"/>
            </a:pPr>
            <a:endParaRPr sz="1400" b="0" i="0">
              <a:latin typeface="Arial" panose="020B0604020202020204" pitchFamily="34" charset="0"/>
            </a:endParaRPr>
          </a:p>
        </p:txBody>
      </p:sp>
      <p:sp>
        <p:nvSpPr>
          <p:cNvPr id="14" name="Text Placeholder 13">
            <a:extLst>
              <a:ext uri="{FF2B5EF4-FFF2-40B4-BE49-F238E27FC236}">
                <a16:creationId xmlns:a16="http://schemas.microsoft.com/office/drawing/2014/main" id="{62BF53F8-DD4C-FA47-6B01-18E8243A4A8F}"/>
              </a:ext>
            </a:extLst>
          </p:cNvPr>
          <p:cNvSpPr>
            <a:spLocks noGrp="1"/>
          </p:cNvSpPr>
          <p:nvPr>
            <p:ph type="body" sz="quarter" idx="14" hasCustomPrompt="1"/>
          </p:nvPr>
        </p:nvSpPr>
        <p:spPr>
          <a:xfrm>
            <a:off x="285750" y="1241425"/>
            <a:ext cx="2781300" cy="2895600"/>
          </a:xfrm>
          <a:prstGeom prst="roundRect">
            <a:avLst>
              <a:gd name="adj" fmla="val 7743"/>
            </a:avLst>
          </a:prstGeom>
          <a:solidFill>
            <a:schemeClr val="accent1"/>
          </a:solidFill>
        </p:spPr>
        <p:txBody>
          <a:bodyPr/>
          <a:lstStyle>
            <a:lvl1pPr marL="0" indent="0">
              <a:buNone/>
              <a:defRPr sz="1400" b="1">
                <a:latin typeface="Arial" panose="020B0604020202020204" pitchFamily="34" charset="0"/>
                <a:cs typeface="Arial" panose="020B0604020202020204" pitchFamily="34" charset="0"/>
              </a:defRPr>
            </a:lvl1pPr>
          </a:lstStyle>
          <a:p>
            <a:pPr lvl="0"/>
            <a:r>
              <a:rPr lang="en-US"/>
              <a:t>Poor Self-Awareness is a Patient Safety Problem</a:t>
            </a:r>
          </a:p>
        </p:txBody>
      </p:sp>
      <p:sp>
        <p:nvSpPr>
          <p:cNvPr id="16" name="Text Placeholder 13">
            <a:extLst>
              <a:ext uri="{FF2B5EF4-FFF2-40B4-BE49-F238E27FC236}">
                <a16:creationId xmlns:a16="http://schemas.microsoft.com/office/drawing/2014/main" id="{7AA386EA-485A-2DEB-D6AD-9A1567D015DD}"/>
              </a:ext>
            </a:extLst>
          </p:cNvPr>
          <p:cNvSpPr>
            <a:spLocks noGrp="1"/>
          </p:cNvSpPr>
          <p:nvPr>
            <p:ph type="body" sz="quarter" idx="15" hasCustomPrompt="1"/>
          </p:nvPr>
        </p:nvSpPr>
        <p:spPr>
          <a:xfrm>
            <a:off x="3185704" y="1241425"/>
            <a:ext cx="2781300" cy="2895600"/>
          </a:xfrm>
          <a:prstGeom prst="roundRect">
            <a:avLst>
              <a:gd name="adj" fmla="val 7743"/>
            </a:avLst>
          </a:prstGeom>
          <a:solidFill>
            <a:schemeClr val="accent3"/>
          </a:solidFill>
        </p:spPr>
        <p:txBody>
          <a:bodyPr/>
          <a:lstStyle>
            <a:lvl1pPr marL="0" indent="0">
              <a:buNone/>
              <a:defRPr sz="1400" b="1">
                <a:latin typeface="Arial" panose="020B0604020202020204" pitchFamily="34" charset="0"/>
                <a:cs typeface="Arial" panose="020B0604020202020204" pitchFamily="34" charset="0"/>
              </a:defRPr>
            </a:lvl1pPr>
          </a:lstStyle>
          <a:p>
            <a:pPr lvl="0"/>
            <a:r>
              <a:rPr lang="en-US"/>
              <a:t>Accurate Self-Assessment is Intrinsically Difficult</a:t>
            </a:r>
          </a:p>
        </p:txBody>
      </p:sp>
      <p:sp>
        <p:nvSpPr>
          <p:cNvPr id="17" name="Text Placeholder 13">
            <a:extLst>
              <a:ext uri="{FF2B5EF4-FFF2-40B4-BE49-F238E27FC236}">
                <a16:creationId xmlns:a16="http://schemas.microsoft.com/office/drawing/2014/main" id="{10F1D636-4E7F-A1DF-282E-A5CDFE0BDA4D}"/>
              </a:ext>
            </a:extLst>
          </p:cNvPr>
          <p:cNvSpPr>
            <a:spLocks noGrp="1"/>
          </p:cNvSpPr>
          <p:nvPr>
            <p:ph type="body" sz="quarter" idx="16" hasCustomPrompt="1"/>
          </p:nvPr>
        </p:nvSpPr>
        <p:spPr>
          <a:xfrm>
            <a:off x="6085658" y="1241425"/>
            <a:ext cx="2781300" cy="2895600"/>
          </a:xfrm>
          <a:prstGeom prst="roundRect">
            <a:avLst>
              <a:gd name="adj" fmla="val 7743"/>
            </a:avLst>
          </a:prstGeom>
          <a:solidFill>
            <a:schemeClr val="accent6"/>
          </a:solidFill>
        </p:spPr>
        <p:txBody>
          <a:bodyPr/>
          <a:lstStyle>
            <a:lvl1pPr marL="0" indent="0">
              <a:buNone/>
              <a:defRPr sz="1400" b="1">
                <a:latin typeface="Arial" panose="020B0604020202020204" pitchFamily="34" charset="0"/>
                <a:cs typeface="Arial" panose="020B0604020202020204" pitchFamily="34" charset="0"/>
              </a:defRPr>
            </a:lvl1pPr>
          </a:lstStyle>
          <a:p>
            <a:pPr lvl="0"/>
            <a:r>
              <a:rPr lang="en-US"/>
              <a:t>Accurate Self-Assessment is Intrinsically Difficult</a:t>
            </a:r>
          </a:p>
        </p:txBody>
      </p:sp>
      <p:sp>
        <p:nvSpPr>
          <p:cNvPr id="4" name="Text Placeholder 3">
            <a:extLst>
              <a:ext uri="{FF2B5EF4-FFF2-40B4-BE49-F238E27FC236}">
                <a16:creationId xmlns:a16="http://schemas.microsoft.com/office/drawing/2014/main" id="{F77FFC73-FFFF-D04C-0222-08522A5EAF37}"/>
              </a:ext>
            </a:extLst>
          </p:cNvPr>
          <p:cNvSpPr>
            <a:spLocks noGrp="1"/>
          </p:cNvSpPr>
          <p:nvPr>
            <p:ph type="body" sz="quarter" idx="17" hasCustomPrompt="1"/>
          </p:nvPr>
        </p:nvSpPr>
        <p:spPr>
          <a:xfrm>
            <a:off x="441325" y="1929041"/>
            <a:ext cx="2470150" cy="2007958"/>
          </a:xfrm>
          <a:prstGeom prst="rect">
            <a:avLst/>
          </a:prstGeom>
        </p:spPr>
        <p:txBody>
          <a:bodyPr lIns="0" tIns="0" rIns="0" bIns="0"/>
          <a:lstStyle>
            <a:lvl1pPr marL="285743" indent="-285743">
              <a:buFont typeface="Arial" panose="020B0604020202020204" pitchFamily="34" charset="0"/>
              <a:buChar char="•"/>
              <a:defRPr sz="1400">
                <a:latin typeface="Arial" panose="020B0604020202020204" pitchFamily="34" charset="0"/>
                <a:cs typeface="Arial" panose="020B0604020202020204" pitchFamily="34" charset="0"/>
              </a:defRPr>
            </a:lvl1pPr>
            <a:lvl2pPr marL="228590" indent="0">
              <a:buNone/>
              <a:defRPr sz="1400">
                <a:latin typeface="Manrope" pitchFamily="2" charset="0"/>
              </a:defRPr>
            </a:lvl2pPr>
            <a:lvl3pPr marL="457178" indent="0">
              <a:buNone/>
              <a:defRPr sz="1400">
                <a:latin typeface="Manrope" pitchFamily="2" charset="0"/>
              </a:defRPr>
            </a:lvl3pPr>
            <a:lvl4pPr marL="685766" indent="0">
              <a:buNone/>
              <a:defRPr sz="1400">
                <a:latin typeface="Manrope" pitchFamily="2" charset="0"/>
              </a:defRPr>
            </a:lvl4pPr>
            <a:lvl5pPr marL="914355" indent="0">
              <a:buNone/>
              <a:defRPr sz="1400">
                <a:latin typeface="Manrope" pitchFamily="2" charset="0"/>
              </a:defRPr>
            </a:lvl5pPr>
          </a:lstStyle>
          <a:p>
            <a:pPr lvl="0"/>
            <a:r>
              <a:rPr lang="en-US"/>
              <a:t>Body text</a:t>
            </a:r>
          </a:p>
        </p:txBody>
      </p:sp>
      <p:sp>
        <p:nvSpPr>
          <p:cNvPr id="8" name="Text Placeholder 3">
            <a:extLst>
              <a:ext uri="{FF2B5EF4-FFF2-40B4-BE49-F238E27FC236}">
                <a16:creationId xmlns:a16="http://schemas.microsoft.com/office/drawing/2014/main" id="{B481EA63-743E-E6DB-5952-4A8451CAB640}"/>
              </a:ext>
            </a:extLst>
          </p:cNvPr>
          <p:cNvSpPr>
            <a:spLocks noGrp="1"/>
          </p:cNvSpPr>
          <p:nvPr>
            <p:ph type="body" sz="quarter" idx="18" hasCustomPrompt="1"/>
          </p:nvPr>
        </p:nvSpPr>
        <p:spPr>
          <a:xfrm>
            <a:off x="3341280" y="1929041"/>
            <a:ext cx="2470150" cy="2007958"/>
          </a:xfrm>
          <a:prstGeom prst="rect">
            <a:avLst/>
          </a:prstGeom>
        </p:spPr>
        <p:txBody>
          <a:bodyPr lIns="0" tIns="0" rIns="0" bIns="0"/>
          <a:lstStyle>
            <a:lvl1pPr marL="285743" indent="-285743">
              <a:buFont typeface="Arial" panose="020B0604020202020204" pitchFamily="34" charset="0"/>
              <a:buChar char="•"/>
              <a:defRPr sz="1400">
                <a:latin typeface="Arial" panose="020B0604020202020204" pitchFamily="34" charset="0"/>
                <a:cs typeface="Arial" panose="020B0604020202020204" pitchFamily="34" charset="0"/>
              </a:defRPr>
            </a:lvl1pPr>
            <a:lvl2pPr marL="228590" indent="0">
              <a:buNone/>
              <a:defRPr sz="1400">
                <a:latin typeface="Manrope" pitchFamily="2" charset="0"/>
              </a:defRPr>
            </a:lvl2pPr>
            <a:lvl3pPr marL="457178" indent="0">
              <a:buNone/>
              <a:defRPr sz="1400">
                <a:latin typeface="Manrope" pitchFamily="2" charset="0"/>
              </a:defRPr>
            </a:lvl3pPr>
            <a:lvl4pPr marL="685766" indent="0">
              <a:buNone/>
              <a:defRPr sz="1400">
                <a:latin typeface="Manrope" pitchFamily="2" charset="0"/>
              </a:defRPr>
            </a:lvl4pPr>
            <a:lvl5pPr marL="914355" indent="0">
              <a:buNone/>
              <a:defRPr sz="1400">
                <a:latin typeface="Manrope" pitchFamily="2" charset="0"/>
              </a:defRPr>
            </a:lvl5pPr>
          </a:lstStyle>
          <a:p>
            <a:pPr lvl="0"/>
            <a:r>
              <a:rPr lang="en-US"/>
              <a:t>Body text</a:t>
            </a:r>
          </a:p>
        </p:txBody>
      </p:sp>
      <p:sp>
        <p:nvSpPr>
          <p:cNvPr id="10" name="Text Placeholder 3">
            <a:extLst>
              <a:ext uri="{FF2B5EF4-FFF2-40B4-BE49-F238E27FC236}">
                <a16:creationId xmlns:a16="http://schemas.microsoft.com/office/drawing/2014/main" id="{A69D8B47-D0D0-D028-E97A-5B43BB51BA82}"/>
              </a:ext>
            </a:extLst>
          </p:cNvPr>
          <p:cNvSpPr>
            <a:spLocks noGrp="1"/>
          </p:cNvSpPr>
          <p:nvPr>
            <p:ph type="body" sz="quarter" idx="19" hasCustomPrompt="1"/>
          </p:nvPr>
        </p:nvSpPr>
        <p:spPr>
          <a:xfrm>
            <a:off x="6235308" y="1929041"/>
            <a:ext cx="2470150" cy="2007958"/>
          </a:xfrm>
          <a:prstGeom prst="rect">
            <a:avLst/>
          </a:prstGeom>
        </p:spPr>
        <p:txBody>
          <a:bodyPr lIns="0" tIns="0" rIns="0" bIns="0"/>
          <a:lstStyle>
            <a:lvl1pPr marL="285743" indent="-285743">
              <a:buFont typeface="Arial" panose="020B0604020202020204" pitchFamily="34" charset="0"/>
              <a:buChar char="•"/>
              <a:defRPr sz="1400">
                <a:latin typeface="Arial" panose="020B0604020202020204" pitchFamily="34" charset="0"/>
                <a:cs typeface="Arial" panose="020B0604020202020204" pitchFamily="34" charset="0"/>
              </a:defRPr>
            </a:lvl1pPr>
            <a:lvl2pPr marL="228590" indent="0">
              <a:buNone/>
              <a:defRPr sz="1400">
                <a:latin typeface="Manrope" pitchFamily="2" charset="0"/>
              </a:defRPr>
            </a:lvl2pPr>
            <a:lvl3pPr marL="457178" indent="0">
              <a:buNone/>
              <a:defRPr sz="1400">
                <a:latin typeface="Manrope" pitchFamily="2" charset="0"/>
              </a:defRPr>
            </a:lvl3pPr>
            <a:lvl4pPr marL="685766" indent="0">
              <a:buNone/>
              <a:defRPr sz="1400">
                <a:latin typeface="Manrope" pitchFamily="2" charset="0"/>
              </a:defRPr>
            </a:lvl4pPr>
            <a:lvl5pPr marL="914355" indent="0">
              <a:buNone/>
              <a:defRPr sz="1400">
                <a:latin typeface="Manrope" pitchFamily="2" charset="0"/>
              </a:defRPr>
            </a:lvl5pPr>
          </a:lstStyle>
          <a:p>
            <a:pPr lvl="0"/>
            <a:r>
              <a:rPr lang="en-US"/>
              <a:t>Body text</a:t>
            </a:r>
          </a:p>
        </p:txBody>
      </p:sp>
      <p:pic>
        <p:nvPicPr>
          <p:cNvPr id="2" name="Picture 1">
            <a:extLst>
              <a:ext uri="{FF2B5EF4-FFF2-40B4-BE49-F238E27FC236}">
                <a16:creationId xmlns:a16="http://schemas.microsoft.com/office/drawing/2014/main" id="{ADF67C7B-8DF9-72F2-9608-F13009632C7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87201" y="4523122"/>
            <a:ext cx="877226" cy="164479"/>
          </a:xfrm>
          <a:prstGeom prst="rect">
            <a:avLst/>
          </a:prstGeom>
        </p:spPr>
      </p:pic>
      <p:sp>
        <p:nvSpPr>
          <p:cNvPr id="3" name="Title 9">
            <a:extLst>
              <a:ext uri="{FF2B5EF4-FFF2-40B4-BE49-F238E27FC236}">
                <a16:creationId xmlns:a16="http://schemas.microsoft.com/office/drawing/2014/main" id="{AE52CF48-EFCE-F432-153A-F196AF0D6F38}"/>
              </a:ext>
            </a:extLst>
          </p:cNvPr>
          <p:cNvSpPr>
            <a:spLocks noGrp="1"/>
          </p:cNvSpPr>
          <p:nvPr>
            <p:ph type="title" hasCustomPrompt="1"/>
          </p:nvPr>
        </p:nvSpPr>
        <p:spPr>
          <a:xfrm>
            <a:off x="285749" y="544678"/>
            <a:ext cx="8583613"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5" name="Rectangle 4">
            <a:extLst>
              <a:ext uri="{FF2B5EF4-FFF2-40B4-BE49-F238E27FC236}">
                <a16:creationId xmlns:a16="http://schemas.microsoft.com/office/drawing/2014/main" id="{3AFFA0B5-4A27-CB09-444A-5AE1F3EA568C}"/>
              </a:ext>
            </a:extLst>
          </p:cNvPr>
          <p:cNvSpPr/>
          <p:nvPr/>
        </p:nvSpPr>
        <p:spPr>
          <a:xfrm>
            <a:off x="0" y="4986474"/>
            <a:ext cx="914400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4">
            <a:extLst>
              <a:ext uri="{FF2B5EF4-FFF2-40B4-BE49-F238E27FC236}">
                <a16:creationId xmlns:a16="http://schemas.microsoft.com/office/drawing/2014/main" id="{F3ACAFAF-D882-E750-7460-B38B05D3AC56}"/>
              </a:ext>
            </a:extLst>
          </p:cNvPr>
          <p:cNvSpPr>
            <a:spLocks noGrp="1"/>
          </p:cNvSpPr>
          <p:nvPr>
            <p:ph type="body" sz="quarter" idx="11" hasCustomPrompt="1"/>
          </p:nvPr>
        </p:nvSpPr>
        <p:spPr>
          <a:xfrm>
            <a:off x="285749" y="320647"/>
            <a:ext cx="8577579"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3677937143"/>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lide (with Photo)">
    <p:bg>
      <p:bgPr>
        <a:solidFill>
          <a:schemeClr val="bg2"/>
        </a:solidFill>
        <a:effectLst/>
      </p:bgPr>
    </p:bg>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924557D1-4054-4D1A-AFB9-10D69BBD4F3C}"/>
              </a:ext>
            </a:extLst>
          </p:cNvPr>
          <p:cNvSpPr>
            <a:spLocks noGrp="1"/>
          </p:cNvSpPr>
          <p:nvPr>
            <p:ph type="pic" sz="quarter" idx="12"/>
          </p:nvPr>
        </p:nvSpPr>
        <p:spPr>
          <a:xfrm>
            <a:off x="5962650" y="0"/>
            <a:ext cx="318135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10" name="Text Placeholder 8">
            <a:extLst>
              <a:ext uri="{FF2B5EF4-FFF2-40B4-BE49-F238E27FC236}">
                <a16:creationId xmlns:a16="http://schemas.microsoft.com/office/drawing/2014/main" id="{8FEA18FE-0BF6-884B-38FD-4E01D90C16F3}"/>
              </a:ext>
            </a:extLst>
          </p:cNvPr>
          <p:cNvSpPr>
            <a:spLocks noGrp="1"/>
          </p:cNvSpPr>
          <p:nvPr>
            <p:ph type="body" sz="quarter" idx="15"/>
          </p:nvPr>
        </p:nvSpPr>
        <p:spPr>
          <a:xfrm>
            <a:off x="7985126"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1C2B2148-BF8D-00BC-2FA3-BDEFCBA1C965}"/>
              </a:ext>
            </a:extLst>
          </p:cNvPr>
          <p:cNvSpPr>
            <a:spLocks noGrp="1"/>
          </p:cNvSpPr>
          <p:nvPr>
            <p:ph sz="quarter" idx="16"/>
          </p:nvPr>
        </p:nvSpPr>
        <p:spPr>
          <a:xfrm>
            <a:off x="285750" y="1233847"/>
            <a:ext cx="4954588" cy="2903178"/>
          </a:xfrm>
          <a:prstGeom prst="rect">
            <a:avLst/>
          </a:prstGeom>
        </p:spPr>
        <p:txBody>
          <a:bodyPr lIns="0" tIns="0" rIns="0" bIns="0"/>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9">
            <a:extLst>
              <a:ext uri="{FF2B5EF4-FFF2-40B4-BE49-F238E27FC236}">
                <a16:creationId xmlns:a16="http://schemas.microsoft.com/office/drawing/2014/main" id="{C73F8695-41C5-1FFD-0830-F740C5F0CCD0}"/>
              </a:ext>
            </a:extLst>
          </p:cNvPr>
          <p:cNvSpPr>
            <a:spLocks noGrp="1"/>
          </p:cNvSpPr>
          <p:nvPr>
            <p:ph type="title" hasCustomPrompt="1"/>
          </p:nvPr>
        </p:nvSpPr>
        <p:spPr>
          <a:xfrm>
            <a:off x="285750" y="544678"/>
            <a:ext cx="4953000"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8" name="Text Placeholder 4">
            <a:extLst>
              <a:ext uri="{FF2B5EF4-FFF2-40B4-BE49-F238E27FC236}">
                <a16:creationId xmlns:a16="http://schemas.microsoft.com/office/drawing/2014/main" id="{02618778-7912-E2D2-D005-36FE8B7A42AF}"/>
              </a:ext>
            </a:extLst>
          </p:cNvPr>
          <p:cNvSpPr>
            <a:spLocks noGrp="1"/>
          </p:cNvSpPr>
          <p:nvPr>
            <p:ph type="body" sz="quarter" idx="11" hasCustomPrompt="1"/>
          </p:nvPr>
        </p:nvSpPr>
        <p:spPr>
          <a:xfrm>
            <a:off x="285750" y="320647"/>
            <a:ext cx="4953000"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741539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Slide (with Photo Collage)">
    <p:bg>
      <p:bgPr>
        <a:solidFill>
          <a:schemeClr val="bg2"/>
        </a:solidFill>
        <a:effectLst/>
      </p:bgPr>
    </p:bg>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924557D1-4054-4D1A-AFB9-10D69BBD4F3C}"/>
              </a:ext>
            </a:extLst>
          </p:cNvPr>
          <p:cNvSpPr>
            <a:spLocks noGrp="1"/>
          </p:cNvSpPr>
          <p:nvPr>
            <p:ph type="pic" sz="quarter" idx="12"/>
          </p:nvPr>
        </p:nvSpPr>
        <p:spPr>
          <a:xfrm>
            <a:off x="6800850" y="0"/>
            <a:ext cx="2343150" cy="5143500"/>
          </a:xfrm>
          <a:prstGeom prst="rect">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2" name="Picture Placeholder 5">
            <a:extLst>
              <a:ext uri="{FF2B5EF4-FFF2-40B4-BE49-F238E27FC236}">
                <a16:creationId xmlns:a16="http://schemas.microsoft.com/office/drawing/2014/main" id="{31DEDA59-4C2C-259D-E09C-B587721A691D}"/>
              </a:ext>
            </a:extLst>
          </p:cNvPr>
          <p:cNvSpPr>
            <a:spLocks noGrp="1"/>
          </p:cNvSpPr>
          <p:nvPr>
            <p:ph type="pic" sz="quarter" idx="17"/>
          </p:nvPr>
        </p:nvSpPr>
        <p:spPr>
          <a:xfrm>
            <a:off x="4629151" y="-109329"/>
            <a:ext cx="2057400" cy="2382631"/>
          </a:xfrm>
          <a:prstGeom prst="roundRect">
            <a:avLst>
              <a:gd name="adj" fmla="val 6550"/>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4" name="Picture Placeholder 5">
            <a:extLst>
              <a:ext uri="{FF2B5EF4-FFF2-40B4-BE49-F238E27FC236}">
                <a16:creationId xmlns:a16="http://schemas.microsoft.com/office/drawing/2014/main" id="{A1CC96B9-1F7E-42A0-99F0-ED2A6FC3F3D8}"/>
              </a:ext>
            </a:extLst>
          </p:cNvPr>
          <p:cNvSpPr>
            <a:spLocks noGrp="1"/>
          </p:cNvSpPr>
          <p:nvPr>
            <p:ph type="pic" sz="quarter" idx="19"/>
          </p:nvPr>
        </p:nvSpPr>
        <p:spPr>
          <a:xfrm>
            <a:off x="4629151" y="2391115"/>
            <a:ext cx="2057400" cy="2886564"/>
          </a:xfrm>
          <a:prstGeom prst="roundRect">
            <a:avLst>
              <a:gd name="adj" fmla="val 6550"/>
            </a:avLst>
          </a:prstGeom>
          <a:solidFill>
            <a:schemeClr val="accent1"/>
          </a:solid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8">
            <a:extLst>
              <a:ext uri="{FF2B5EF4-FFF2-40B4-BE49-F238E27FC236}">
                <a16:creationId xmlns:a16="http://schemas.microsoft.com/office/drawing/2014/main" id="{554D85A2-4270-4860-1F46-2E70A13A5C21}"/>
              </a:ext>
            </a:extLst>
          </p:cNvPr>
          <p:cNvSpPr>
            <a:spLocks noGrp="1"/>
          </p:cNvSpPr>
          <p:nvPr>
            <p:ph type="body" sz="quarter" idx="15"/>
          </p:nvPr>
        </p:nvSpPr>
        <p:spPr>
          <a:xfrm>
            <a:off x="7985126" y="4702177"/>
            <a:ext cx="877229" cy="1644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C244A450-9BAC-5161-2221-0939B997DEDA}"/>
              </a:ext>
            </a:extLst>
          </p:cNvPr>
          <p:cNvSpPr>
            <a:spLocks noGrp="1"/>
          </p:cNvSpPr>
          <p:nvPr>
            <p:ph sz="quarter" idx="16"/>
          </p:nvPr>
        </p:nvSpPr>
        <p:spPr>
          <a:xfrm>
            <a:off x="285750" y="1233847"/>
            <a:ext cx="3616325" cy="2886564"/>
          </a:xfrm>
          <a:prstGeom prst="rect">
            <a:avLst/>
          </a:prstGeom>
        </p:spPr>
        <p:txBody>
          <a:bodyPr lIns="0" tIns="0" rIns="0" bIns="0"/>
          <a:lstStyle>
            <a:lvl1pPr>
              <a:buClr>
                <a:schemeClr val="accent2"/>
              </a:buClr>
              <a:defRPr sz="1400"/>
            </a:lvl1pPr>
            <a:lvl2pPr>
              <a:buClr>
                <a:schemeClr val="accent2"/>
              </a:buClr>
              <a:defRPr sz="1400"/>
            </a:lvl2pPr>
            <a:lvl3pPr>
              <a:buClr>
                <a:schemeClr val="accent2"/>
              </a:buClr>
              <a:defRPr sz="1400"/>
            </a:lvl3pPr>
            <a:lvl4pPr>
              <a:buClr>
                <a:schemeClr val="accent2"/>
              </a:buClr>
              <a:defRPr sz="1400"/>
            </a:lvl4pPr>
            <a:lvl5pPr>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728A1AE2-F28D-FA29-808A-653A7268EBC5}"/>
              </a:ext>
            </a:extLst>
          </p:cNvPr>
          <p:cNvSpPr>
            <a:spLocks noGrp="1"/>
          </p:cNvSpPr>
          <p:nvPr>
            <p:ph type="title" hasCustomPrompt="1"/>
          </p:nvPr>
        </p:nvSpPr>
        <p:spPr>
          <a:xfrm>
            <a:off x="285749" y="544678"/>
            <a:ext cx="3616325" cy="493553"/>
          </a:xfrm>
          <a:prstGeom prst="rect">
            <a:avLst/>
          </a:prstGeom>
        </p:spPr>
        <p:txBody>
          <a:bodyPr lIns="0" tIns="0" rIns="0" bIns="0"/>
          <a:lstStyle>
            <a:lvl1pPr algn="l">
              <a:defRPr sz="2400" b="1">
                <a:solidFill>
                  <a:schemeClr val="tx2"/>
                </a:solidFill>
                <a:latin typeface="Arial" panose="020B0604020202020204" pitchFamily="34" charset="0"/>
                <a:cs typeface="Arial" panose="020B0604020202020204" pitchFamily="34" charset="0"/>
              </a:defRPr>
            </a:lvl1pPr>
          </a:lstStyle>
          <a:p>
            <a:r>
              <a:rPr lang="en-US"/>
              <a:t>Slide Title</a:t>
            </a:r>
          </a:p>
        </p:txBody>
      </p:sp>
      <p:sp>
        <p:nvSpPr>
          <p:cNvPr id="12" name="Rectangle 11">
            <a:extLst>
              <a:ext uri="{FF2B5EF4-FFF2-40B4-BE49-F238E27FC236}">
                <a16:creationId xmlns:a16="http://schemas.microsoft.com/office/drawing/2014/main" id="{323D7442-3D7A-3FD6-308B-299C54F48E28}"/>
              </a:ext>
            </a:extLst>
          </p:cNvPr>
          <p:cNvSpPr/>
          <p:nvPr/>
        </p:nvSpPr>
        <p:spPr>
          <a:xfrm>
            <a:off x="0" y="4986474"/>
            <a:ext cx="4629150" cy="16447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4">
            <a:extLst>
              <a:ext uri="{FF2B5EF4-FFF2-40B4-BE49-F238E27FC236}">
                <a16:creationId xmlns:a16="http://schemas.microsoft.com/office/drawing/2014/main" id="{11BC31FD-91DA-D9EF-4747-16A9A1D33A72}"/>
              </a:ext>
            </a:extLst>
          </p:cNvPr>
          <p:cNvSpPr>
            <a:spLocks noGrp="1"/>
          </p:cNvSpPr>
          <p:nvPr>
            <p:ph type="body" sz="quarter" idx="11" hasCustomPrompt="1"/>
          </p:nvPr>
        </p:nvSpPr>
        <p:spPr>
          <a:xfrm>
            <a:off x="285750" y="320647"/>
            <a:ext cx="3616325" cy="171450"/>
          </a:xfrm>
          <a:prstGeom prst="rect">
            <a:avLst/>
          </a:prstGeom>
        </p:spPr>
        <p:txBody>
          <a:bodyPr lIns="0" tIns="0" rIns="0" bIns="0" anchor="b" anchorCtr="0"/>
          <a:lstStyle>
            <a:lvl1pPr marL="0" indent="0">
              <a:buNone/>
              <a:defRPr sz="1000" b="0" i="0" cap="all" spc="150" baseline="0">
                <a:solidFill>
                  <a:schemeClr val="accent2"/>
                </a:solidFill>
                <a:latin typeface="Arial" panose="020B0604020202020204" pitchFamily="34" charset="0"/>
                <a:cs typeface="Arial" panose="020B0604020202020204" pitchFamily="34" charset="0"/>
              </a:defRPr>
            </a:lvl1pPr>
            <a:lvl2pPr marL="228588" indent="0">
              <a:buNone/>
              <a:defRPr/>
            </a:lvl2pPr>
            <a:lvl3pPr marL="457178" indent="0">
              <a:buNone/>
              <a:defRPr/>
            </a:lvl3pPr>
            <a:lvl4pPr marL="685766" indent="0">
              <a:buNone/>
              <a:defRPr/>
            </a:lvl4pPr>
            <a:lvl5pPr marL="914355" indent="0">
              <a:buNone/>
              <a:defRPr/>
            </a:lvl5pPr>
          </a:lstStyle>
          <a:p>
            <a:pPr lvl="0"/>
            <a:r>
              <a:rPr lang="en-US"/>
              <a:t>SUBHEAD</a:t>
            </a:r>
          </a:p>
        </p:txBody>
      </p:sp>
    </p:spTree>
    <p:extLst>
      <p:ext uri="{BB962C8B-B14F-4D97-AF65-F5344CB8AC3E}">
        <p14:creationId xmlns:p14="http://schemas.microsoft.com/office/powerpoint/2010/main" val="17583024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empower - DO NOT DELETE!!!" hidden="1">
            <a:extLst>
              <a:ext uri="{FF2B5EF4-FFF2-40B4-BE49-F238E27FC236}">
                <a16:creationId xmlns:a16="http://schemas.microsoft.com/office/drawing/2014/main" id="{425BB2B0-73A2-5486-8C52-DADCC4007790}"/>
              </a:ext>
            </a:extLst>
          </p:cNvPr>
          <p:cNvSpPr/>
          <p:nvPr>
            <p:custDataLst>
              <p:tags r:id="rId54"/>
            </p:custDataLst>
          </p:nvPr>
        </p:nvSpPr>
        <p:spPr>
          <a:xfrm>
            <a:off x="0" y="0"/>
            <a:ext cx="0" cy="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mpower - DO NOT DELETE!!!" hidden="1">
            <a:extLst>
              <a:ext uri="{FF2B5EF4-FFF2-40B4-BE49-F238E27FC236}">
                <a16:creationId xmlns:a16="http://schemas.microsoft.com/office/drawing/2014/main" id="{E97A6448-D203-F83A-97A4-9EA0FE7309B2}"/>
              </a:ext>
            </a:extLst>
          </p:cNvPr>
          <p:cNvSpPr/>
          <p:nvPr>
            <p:custDataLst>
              <p:tags r:id="rId55"/>
            </p:custDataLst>
          </p:nvPr>
        </p:nvSpPr>
        <p:spPr>
          <a:xfrm>
            <a:off x="0" y="0"/>
            <a:ext cx="0" cy="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9697434"/>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70"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068" r:id="rId51"/>
    <p:sldLayoutId id="2147484069" r:id="rId52"/>
  </p:sldLayoutIdLst>
  <p:txStyles>
    <p:titleStyle>
      <a:lvl1pPr algn="ctr" defTabSz="457178" rtl="0" eaLnBrk="1" latinLnBrk="0" hangingPunct="1">
        <a:spcBef>
          <a:spcPct val="0"/>
        </a:spcBef>
        <a:buNone/>
        <a:defRPr sz="2200" kern="1200">
          <a:solidFill>
            <a:schemeClr val="tx1"/>
          </a:solidFill>
          <a:latin typeface="+mj-lt"/>
          <a:ea typeface="+mj-ea"/>
          <a:cs typeface="+mj-cs"/>
        </a:defRPr>
      </a:lvl1pPr>
    </p:titleStyle>
    <p:bodyStyle>
      <a:lvl1pPr marL="171442" indent="-171442" algn="l" defTabSz="457178"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57" indent="-142868" algn="l" defTabSz="457178"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472" indent="-114294" algn="l" defTabSz="457178"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060"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649"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238"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826"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415"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003" indent="-114294" algn="l" defTabSz="457178"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178" rtl="0" eaLnBrk="1" latinLnBrk="0" hangingPunct="1">
        <a:defRPr sz="900" kern="1200">
          <a:solidFill>
            <a:schemeClr val="tx1"/>
          </a:solidFill>
          <a:latin typeface="+mn-lt"/>
          <a:ea typeface="+mn-ea"/>
          <a:cs typeface="+mn-cs"/>
        </a:defRPr>
      </a:lvl1pPr>
      <a:lvl2pPr marL="228588" algn="l" defTabSz="457178" rtl="0" eaLnBrk="1" latinLnBrk="0" hangingPunct="1">
        <a:defRPr sz="900" kern="1200">
          <a:solidFill>
            <a:schemeClr val="tx1"/>
          </a:solidFill>
          <a:latin typeface="+mn-lt"/>
          <a:ea typeface="+mn-ea"/>
          <a:cs typeface="+mn-cs"/>
        </a:defRPr>
      </a:lvl2pPr>
      <a:lvl3pPr marL="457178" algn="l" defTabSz="457178" rtl="0" eaLnBrk="1" latinLnBrk="0" hangingPunct="1">
        <a:defRPr sz="900" kern="1200">
          <a:solidFill>
            <a:schemeClr val="tx1"/>
          </a:solidFill>
          <a:latin typeface="+mn-lt"/>
          <a:ea typeface="+mn-ea"/>
          <a:cs typeface="+mn-cs"/>
        </a:defRPr>
      </a:lvl3pPr>
      <a:lvl4pPr marL="685766" algn="l" defTabSz="457178" rtl="0" eaLnBrk="1" latinLnBrk="0" hangingPunct="1">
        <a:defRPr sz="900" kern="1200">
          <a:solidFill>
            <a:schemeClr val="tx1"/>
          </a:solidFill>
          <a:latin typeface="+mn-lt"/>
          <a:ea typeface="+mn-ea"/>
          <a:cs typeface="+mn-cs"/>
        </a:defRPr>
      </a:lvl4pPr>
      <a:lvl5pPr marL="914355" algn="l" defTabSz="457178" rtl="0" eaLnBrk="1" latinLnBrk="0" hangingPunct="1">
        <a:defRPr sz="900" kern="1200">
          <a:solidFill>
            <a:schemeClr val="tx1"/>
          </a:solidFill>
          <a:latin typeface="+mn-lt"/>
          <a:ea typeface="+mn-ea"/>
          <a:cs typeface="+mn-cs"/>
        </a:defRPr>
      </a:lvl5pPr>
      <a:lvl6pPr marL="1142944" algn="l" defTabSz="457178" rtl="0" eaLnBrk="1" latinLnBrk="0" hangingPunct="1">
        <a:defRPr sz="900" kern="1200">
          <a:solidFill>
            <a:schemeClr val="tx1"/>
          </a:solidFill>
          <a:latin typeface="+mn-lt"/>
          <a:ea typeface="+mn-ea"/>
          <a:cs typeface="+mn-cs"/>
        </a:defRPr>
      </a:lvl6pPr>
      <a:lvl7pPr marL="1371532" algn="l" defTabSz="457178" rtl="0" eaLnBrk="1" latinLnBrk="0" hangingPunct="1">
        <a:defRPr sz="900" kern="1200">
          <a:solidFill>
            <a:schemeClr val="tx1"/>
          </a:solidFill>
          <a:latin typeface="+mn-lt"/>
          <a:ea typeface="+mn-ea"/>
          <a:cs typeface="+mn-cs"/>
        </a:defRPr>
      </a:lvl7pPr>
      <a:lvl8pPr marL="1600120" algn="l" defTabSz="457178" rtl="0" eaLnBrk="1" latinLnBrk="0" hangingPunct="1">
        <a:defRPr sz="900" kern="1200">
          <a:solidFill>
            <a:schemeClr val="tx1"/>
          </a:solidFill>
          <a:latin typeface="+mn-lt"/>
          <a:ea typeface="+mn-ea"/>
          <a:cs typeface="+mn-cs"/>
        </a:defRPr>
      </a:lvl8pPr>
      <a:lvl9pPr marL="1828709" algn="l" defTabSz="457178"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FFFFF"/>
          </p15:clr>
        </p15:guide>
        <p15:guide id="2" pos="5760">
          <p15:clr>
            <a:srgbClr val="FFFFFF"/>
          </p15:clr>
        </p15:guide>
        <p15:guide id="3" pos="172">
          <p15:clr>
            <a:srgbClr val="FFFFFF"/>
          </p15:clr>
        </p15:guide>
        <p15:guide id="4" pos="558">
          <p15:clr>
            <a:srgbClr val="FFFFFF"/>
          </p15:clr>
        </p15:guide>
        <p15:guide id="5" pos="630">
          <p15:clr>
            <a:srgbClr val="FFFFFF"/>
          </p15:clr>
        </p15:guide>
        <p15:guide id="6" pos="1015">
          <p15:clr>
            <a:srgbClr val="FFFFFF"/>
          </p15:clr>
        </p15:guide>
        <p15:guide id="7" pos="1087">
          <p15:clr>
            <a:srgbClr val="FFFFFF"/>
          </p15:clr>
        </p15:guide>
        <p15:guide id="8" pos="1472">
          <p15:clr>
            <a:srgbClr val="FFFFFF"/>
          </p15:clr>
        </p15:guide>
        <p15:guide id="9" pos="1544">
          <p15:clr>
            <a:srgbClr val="FFFFFF"/>
          </p15:clr>
        </p15:guide>
        <p15:guide id="10" pos="1929">
          <p15:clr>
            <a:srgbClr val="FFFFFF"/>
          </p15:clr>
        </p15:guide>
        <p15:guide id="11" pos="2001">
          <p15:clr>
            <a:srgbClr val="FFFFFF"/>
          </p15:clr>
        </p15:guide>
        <p15:guide id="12" pos="2386">
          <p15:clr>
            <a:srgbClr val="FFFFFF"/>
          </p15:clr>
        </p15:guide>
        <p15:guide id="13" pos="2458">
          <p15:clr>
            <a:srgbClr val="FFFFFF"/>
          </p15:clr>
        </p15:guide>
        <p15:guide id="14" pos="2844">
          <p15:clr>
            <a:srgbClr val="FFFFFF"/>
          </p15:clr>
        </p15:guide>
        <p15:guide id="15" pos="2916">
          <p15:clr>
            <a:srgbClr val="FFFFFF"/>
          </p15:clr>
        </p15:guide>
        <p15:guide id="16" pos="3301">
          <p15:clr>
            <a:srgbClr val="FFFFFF"/>
          </p15:clr>
        </p15:guide>
        <p15:guide id="17" pos="3373">
          <p15:clr>
            <a:srgbClr val="FFFFFF"/>
          </p15:clr>
        </p15:guide>
        <p15:guide id="18" pos="3758">
          <p15:clr>
            <a:srgbClr val="FFFFFF"/>
          </p15:clr>
        </p15:guide>
        <p15:guide id="19" pos="3830">
          <p15:clr>
            <a:srgbClr val="FFFFFF"/>
          </p15:clr>
        </p15:guide>
        <p15:guide id="20" pos="4215">
          <p15:clr>
            <a:srgbClr val="FFFFFF"/>
          </p15:clr>
        </p15:guide>
        <p15:guide id="21" pos="4287">
          <p15:clr>
            <a:srgbClr val="FFFFFF"/>
          </p15:clr>
        </p15:guide>
        <p15:guide id="22" pos="4672">
          <p15:clr>
            <a:srgbClr val="FFFFFF"/>
          </p15:clr>
        </p15:guide>
        <p15:guide id="23" pos="4744">
          <p15:clr>
            <a:srgbClr val="FFFFFF"/>
          </p15:clr>
        </p15:guide>
        <p15:guide id="24" pos="5130">
          <p15:clr>
            <a:srgbClr val="FFFFFF"/>
          </p15:clr>
        </p15:guide>
        <p15:guide id="25" pos="5202">
          <p15:clr>
            <a:srgbClr val="FFFFFF"/>
          </p15:clr>
        </p15:guide>
        <p15:guide id="26" pos="5587">
          <p15:clr>
            <a:srgbClr val="FFFFFF"/>
          </p15:clr>
        </p15:guide>
        <p15:guide id="27" orient="horz">
          <p15:clr>
            <a:srgbClr val="FFFFFF"/>
          </p15:clr>
        </p15:guide>
        <p15:guide id="28" orient="horz" pos="3240">
          <p15:clr>
            <a:srgbClr val="FFFFFF"/>
          </p15:clr>
        </p15:guide>
        <p15:guide id="29" orient="horz" pos="144">
          <p15:clr>
            <a:srgbClr val="FFFFFF"/>
          </p15:clr>
        </p15:guide>
        <p15:guide id="30" orient="horz" pos="388">
          <p15:clr>
            <a:srgbClr val="FFFFFF"/>
          </p15:clr>
        </p15:guide>
        <p15:guide id="31" orient="horz" pos="460">
          <p15:clr>
            <a:srgbClr val="FFFFFF"/>
          </p15:clr>
        </p15:guide>
        <p15:guide id="32" orient="horz" pos="705">
          <p15:clr>
            <a:srgbClr val="FFFFFF"/>
          </p15:clr>
        </p15:guide>
        <p15:guide id="33" orient="horz" pos="777">
          <p15:clr>
            <a:srgbClr val="FFFFFF"/>
          </p15:clr>
        </p15:guide>
        <p15:guide id="34" orient="horz" pos="1022">
          <p15:clr>
            <a:srgbClr val="FFFFFF"/>
          </p15:clr>
        </p15:guide>
        <p15:guide id="35" orient="horz" pos="1094">
          <p15:clr>
            <a:srgbClr val="FFFFFF"/>
          </p15:clr>
        </p15:guide>
        <p15:guide id="36" orient="horz" pos="1339">
          <p15:clr>
            <a:srgbClr val="FFFFFF"/>
          </p15:clr>
        </p15:guide>
        <p15:guide id="37" orient="horz" pos="1411">
          <p15:clr>
            <a:srgbClr val="FFFFFF"/>
          </p15:clr>
        </p15:guide>
        <p15:guide id="38" orient="horz" pos="1656">
          <p15:clr>
            <a:srgbClr val="FFFFFF"/>
          </p15:clr>
        </p15:guide>
        <p15:guide id="39" orient="horz" pos="1728">
          <p15:clr>
            <a:srgbClr val="FFFFFF"/>
          </p15:clr>
        </p15:guide>
        <p15:guide id="40" orient="horz" pos="1972">
          <p15:clr>
            <a:srgbClr val="FFFFFF"/>
          </p15:clr>
        </p15:guide>
        <p15:guide id="41" orient="horz" pos="2044">
          <p15:clr>
            <a:srgbClr val="FFFFFF"/>
          </p15:clr>
        </p15:guide>
        <p15:guide id="42" orient="horz" pos="2289">
          <p15:clr>
            <a:srgbClr val="FFFFFF"/>
          </p15:clr>
        </p15:guide>
        <p15:guide id="43" orient="horz" pos="2361">
          <p15:clr>
            <a:srgbClr val="FFFFFF"/>
          </p15:clr>
        </p15:guide>
        <p15:guide id="44" orient="horz" pos="2606">
          <p15:clr>
            <a:srgbClr val="FFFFFF"/>
          </p15:clr>
        </p15:guide>
        <p15:guide id="45" orient="horz" pos="2678">
          <p15:clr>
            <a:srgbClr val="FFFFFF"/>
          </p15:clr>
        </p15:guide>
        <p15:guide id="46" orient="horz" pos="2923">
          <p15:clr>
            <a:srgbClr val="FFFFF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E5D7AE-BBA3-F519-EF40-D074753B354C}"/>
              </a:ext>
            </a:extLst>
          </p:cNvPr>
          <p:cNvSpPr>
            <a:spLocks noGrp="1"/>
          </p:cNvSpPr>
          <p:nvPr>
            <p:ph type="body" sz="quarter" idx="15"/>
          </p:nvPr>
        </p:nvSpPr>
        <p:spPr/>
        <p:txBody>
          <a:bodyPr/>
          <a:lstStyle/>
          <a:p>
            <a:endParaRPr lang="en-US"/>
          </a:p>
        </p:txBody>
      </p:sp>
      <p:sp>
        <p:nvSpPr>
          <p:cNvPr id="4" name="Content Placeholder 3">
            <a:extLst>
              <a:ext uri="{FF2B5EF4-FFF2-40B4-BE49-F238E27FC236}">
                <a16:creationId xmlns:a16="http://schemas.microsoft.com/office/drawing/2014/main" id="{55E3EC42-81F0-941B-4B86-74EDD82E5744}"/>
              </a:ext>
            </a:extLst>
          </p:cNvPr>
          <p:cNvSpPr>
            <a:spLocks noGrp="1"/>
          </p:cNvSpPr>
          <p:nvPr>
            <p:ph sz="quarter" idx="16"/>
          </p:nvPr>
        </p:nvSpPr>
        <p:spPr>
          <a:xfrm>
            <a:off x="285750" y="1360967"/>
            <a:ext cx="4785980" cy="3128906"/>
          </a:xfrm>
        </p:spPr>
        <p:txBody>
          <a:bodyPr/>
          <a:lstStyle/>
          <a:p>
            <a:pPr marL="342900" indent="-342900">
              <a:buClr>
                <a:srgbClr val="23D74B"/>
              </a:buClr>
              <a:buFont typeface="Wingdings" panose="05000000000000000000" pitchFamily="2" charset="2"/>
              <a:buChar char="ü"/>
            </a:pPr>
            <a:r>
              <a:rPr lang="en-US" sz="1800" dirty="0">
                <a:solidFill>
                  <a:srgbClr val="4A4A4A"/>
                </a:solidFill>
              </a:rPr>
              <a:t>Automatically see CME reported by accredited providers with your permission</a:t>
            </a:r>
          </a:p>
          <a:p>
            <a:pPr marL="342900" indent="-342900">
              <a:buClr>
                <a:srgbClr val="23D74B"/>
              </a:buClr>
              <a:buFont typeface="Wingdings" panose="05000000000000000000" pitchFamily="2" charset="2"/>
              <a:buChar char="ü"/>
            </a:pPr>
            <a:r>
              <a:rPr lang="en-US" sz="1800" dirty="0">
                <a:solidFill>
                  <a:srgbClr val="4A4A4A"/>
                </a:solidFill>
              </a:rPr>
              <a:t>One transcript for licensure and board certification</a:t>
            </a:r>
          </a:p>
          <a:p>
            <a:pPr marL="342900" indent="-342900">
              <a:buClr>
                <a:srgbClr val="23D74B"/>
              </a:buClr>
              <a:buFont typeface="Wingdings" panose="05000000000000000000" pitchFamily="2" charset="2"/>
              <a:buChar char="ü"/>
            </a:pPr>
            <a:r>
              <a:rPr lang="en-US" sz="1800" dirty="0">
                <a:solidFill>
                  <a:srgbClr val="4A4A4A"/>
                </a:solidFill>
              </a:rPr>
              <a:t>No more manual tracking or PDF certificates</a:t>
            </a:r>
          </a:p>
          <a:p>
            <a:pPr marL="342900" indent="-342900">
              <a:spcAft>
                <a:spcPts val="1200"/>
              </a:spcAft>
              <a:buClr>
                <a:srgbClr val="23D74B"/>
              </a:buClr>
              <a:buFont typeface="Wingdings" panose="05000000000000000000" pitchFamily="2" charset="2"/>
              <a:buChar char="ü"/>
            </a:pPr>
            <a:r>
              <a:rPr lang="en-US" sz="1800" dirty="0">
                <a:solidFill>
                  <a:srgbClr val="4A4A4A"/>
                </a:solidFill>
              </a:rPr>
              <a:t>Free. Secure. Trusted by regulators.</a:t>
            </a:r>
          </a:p>
          <a:p>
            <a:pPr marL="0" indent="0">
              <a:spcAft>
                <a:spcPts val="600"/>
              </a:spcAft>
              <a:buNone/>
            </a:pPr>
            <a:r>
              <a:rPr lang="en-US" sz="1800" dirty="0">
                <a:solidFill>
                  <a:srgbClr val="4A4A4A"/>
                </a:solidFill>
              </a:rPr>
              <a:t>Claim your profile today at </a:t>
            </a:r>
            <a:r>
              <a:rPr lang="en-US" sz="1800" b="1" dirty="0">
                <a:solidFill>
                  <a:srgbClr val="001A77"/>
                </a:solidFill>
              </a:rPr>
              <a:t>cmepassport.org</a:t>
            </a:r>
            <a:r>
              <a:rPr lang="en-US" sz="1800" dirty="0">
                <a:solidFill>
                  <a:srgbClr val="4A4A4A"/>
                </a:solidFill>
              </a:rPr>
              <a:t>.</a:t>
            </a:r>
          </a:p>
          <a:p>
            <a:pPr marL="0" indent="0">
              <a:buNone/>
            </a:pPr>
            <a:r>
              <a:rPr lang="en-US" i="1" dirty="0">
                <a:solidFill>
                  <a:srgbClr val="4A4A4A"/>
                </a:solidFill>
              </a:rPr>
              <a:t>Used by state medical and certifying boards to verify CME completion.</a:t>
            </a:r>
            <a:endParaRPr lang="en-US" dirty="0">
              <a:solidFill>
                <a:srgbClr val="4A4A4A"/>
              </a:solidFill>
            </a:endParaRPr>
          </a:p>
          <a:p>
            <a:endParaRPr lang="en-US" dirty="0">
              <a:solidFill>
                <a:srgbClr val="4A4A4A"/>
              </a:solidFill>
            </a:endParaRPr>
          </a:p>
        </p:txBody>
      </p:sp>
      <p:sp>
        <p:nvSpPr>
          <p:cNvPr id="5" name="Title 4">
            <a:extLst>
              <a:ext uri="{FF2B5EF4-FFF2-40B4-BE49-F238E27FC236}">
                <a16:creationId xmlns:a16="http://schemas.microsoft.com/office/drawing/2014/main" id="{A2F267F5-2C70-819B-A7E0-B1FD425EE6BE}"/>
              </a:ext>
            </a:extLst>
          </p:cNvPr>
          <p:cNvSpPr>
            <a:spLocks noGrp="1"/>
          </p:cNvSpPr>
          <p:nvPr>
            <p:ph type="title"/>
          </p:nvPr>
        </p:nvSpPr>
        <p:spPr>
          <a:xfrm>
            <a:off x="285750" y="432242"/>
            <a:ext cx="4953000" cy="687328"/>
          </a:xfrm>
        </p:spPr>
        <p:txBody>
          <a:bodyPr/>
          <a:lstStyle/>
          <a:p>
            <a:pPr>
              <a:spcAft>
                <a:spcPts val="600"/>
              </a:spcAft>
            </a:pPr>
            <a:r>
              <a:rPr lang="en-US" dirty="0">
                <a:solidFill>
                  <a:srgbClr val="001A77"/>
                </a:solidFill>
              </a:rPr>
              <a:t>CME Passport: Claim Your Profile</a:t>
            </a:r>
            <a:br>
              <a:rPr lang="en-US" dirty="0">
                <a:solidFill>
                  <a:srgbClr val="001A77"/>
                </a:solidFill>
              </a:rPr>
            </a:br>
            <a:r>
              <a:rPr lang="en-US" sz="2000" b="0" i="1" dirty="0">
                <a:solidFill>
                  <a:srgbClr val="23D74B"/>
                </a:solidFill>
              </a:rPr>
              <a:t>Your CME, Automatically Tracked</a:t>
            </a:r>
            <a:endParaRPr lang="en-US" sz="2000" dirty="0">
              <a:solidFill>
                <a:srgbClr val="23D74B"/>
              </a:solidFill>
            </a:endParaRPr>
          </a:p>
        </p:txBody>
      </p:sp>
      <p:pic>
        <p:nvPicPr>
          <p:cNvPr id="10" name="Picture Placeholder 2" descr="Woman wearing a stethoscope around the neck">
            <a:extLst>
              <a:ext uri="{FF2B5EF4-FFF2-40B4-BE49-F238E27FC236}">
                <a16:creationId xmlns:a16="http://schemas.microsoft.com/office/drawing/2014/main" id="{60C0BA7A-5F82-9B45-CC93-0A571E92C4F1}"/>
              </a:ext>
            </a:extLst>
          </p:cNvPr>
          <p:cNvPicPr>
            <a:picLocks noGrp="1" noChangeAspect="1"/>
          </p:cNvPicPr>
          <p:nvPr>
            <p:ph type="pic" sz="quarter" idx="12"/>
          </p:nvPr>
        </p:nvPicPr>
        <p:blipFill>
          <a:blip r:embed="rId3"/>
          <a:srcRect l="47426" r="13994"/>
          <a:stretch>
            <a:fillRect/>
          </a:stretch>
        </p:blipFill>
        <p:spPr>
          <a:xfrm>
            <a:off x="5962650" y="0"/>
            <a:ext cx="3181350" cy="5143500"/>
          </a:xfrm>
          <a:custGeom>
            <a:avLst/>
            <a:gdLst>
              <a:gd name="connsiteX0" fmla="*/ 0 w 7810500"/>
              <a:gd name="connsiteY0" fmla="*/ 0 h 10287000"/>
              <a:gd name="connsiteX1" fmla="*/ 7810500 w 7810500"/>
              <a:gd name="connsiteY1" fmla="*/ 0 h 10287000"/>
              <a:gd name="connsiteX2" fmla="*/ 7810500 w 7810500"/>
              <a:gd name="connsiteY2" fmla="*/ 10287000 h 10287000"/>
              <a:gd name="connsiteX3" fmla="*/ 0 w 78105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810500" h="10287000">
                <a:moveTo>
                  <a:pt x="0" y="0"/>
                </a:moveTo>
                <a:lnTo>
                  <a:pt x="7810500" y="0"/>
                </a:lnTo>
                <a:lnTo>
                  <a:pt x="7810500" y="10287000"/>
                </a:lnTo>
                <a:lnTo>
                  <a:pt x="0" y="10287000"/>
                </a:lnTo>
                <a:close/>
              </a:path>
            </a:pathLst>
          </a:custGeom>
          <a:solidFill>
            <a:schemeClr val="accent1"/>
          </a:solidFill>
        </p:spPr>
      </p:pic>
      <p:pic>
        <p:nvPicPr>
          <p:cNvPr id="17" name="Picture 16" descr="A black and white gradient&#10;&#10;AI-generated content may be incorrect.">
            <a:extLst>
              <a:ext uri="{FF2B5EF4-FFF2-40B4-BE49-F238E27FC236}">
                <a16:creationId xmlns:a16="http://schemas.microsoft.com/office/drawing/2014/main" id="{47B2D27D-056C-308E-15A1-4563433FA182}"/>
              </a:ext>
            </a:extLst>
          </p:cNvPr>
          <p:cNvPicPr>
            <a:picLocks noGrp="1" noRot="1" noMove="1" noResize="1" noEditPoints="1" noAdjustHandles="1" noChangeArrowheads="1" noChangeShapeType="1" noCrop="1"/>
          </p:cNvPicPr>
          <p:nvPr/>
        </p:nvPicPr>
        <p:blipFill rotWithShape="1">
          <a:blip r:embed="rId4"/>
          <a:srcRect t="27986" r="74998"/>
          <a:stretch>
            <a:fillRect/>
          </a:stretch>
        </p:blipFill>
        <p:spPr>
          <a:xfrm>
            <a:off x="5965825" y="11593"/>
            <a:ext cx="3178175" cy="5154262"/>
          </a:xfrm>
          <a:prstGeom prst="rect">
            <a:avLst/>
          </a:prstGeom>
        </p:spPr>
      </p:pic>
      <p:pic>
        <p:nvPicPr>
          <p:cNvPr id="13" name="Graphic 12">
            <a:extLst>
              <a:ext uri="{FF2B5EF4-FFF2-40B4-BE49-F238E27FC236}">
                <a16:creationId xmlns:a16="http://schemas.microsoft.com/office/drawing/2014/main" id="{74FC7B4F-38D5-6530-F3F1-19E5E48462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68657" y="3591423"/>
            <a:ext cx="1934381" cy="1395412"/>
          </a:xfrm>
          <a:prstGeom prst="rect">
            <a:avLst/>
          </a:prstGeom>
        </p:spPr>
      </p:pic>
      <p:sp>
        <p:nvSpPr>
          <p:cNvPr id="15" name="Rounded Rectangle 14">
            <a:extLst>
              <a:ext uri="{FF2B5EF4-FFF2-40B4-BE49-F238E27FC236}">
                <a16:creationId xmlns:a16="http://schemas.microsoft.com/office/drawing/2014/main" id="{E336F4BC-AE7D-4DD4-EFA8-4DCECCFE0EF2}"/>
              </a:ext>
            </a:extLst>
          </p:cNvPr>
          <p:cNvSpPr/>
          <p:nvPr/>
        </p:nvSpPr>
        <p:spPr>
          <a:xfrm>
            <a:off x="5240338" y="1735138"/>
            <a:ext cx="1395412" cy="1395412"/>
          </a:xfrm>
          <a:prstGeom prst="roundRect">
            <a:avLst/>
          </a:prstGeom>
          <a:solidFill>
            <a:schemeClr val="bg1"/>
          </a:solidFill>
          <a:ln>
            <a:noFill/>
          </a:ln>
          <a:effectLst>
            <a:outerShdw blurRad="468834" sx="86000" sy="86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27D6899A-7E92-6BCD-F482-BD00C9F40B5B}"/>
              </a:ext>
            </a:extLst>
          </p:cNvPr>
          <p:cNvPicPr>
            <a:picLocks noChangeAspect="1"/>
          </p:cNvPicPr>
          <p:nvPr/>
        </p:nvPicPr>
        <p:blipFill>
          <a:blip r:embed="rId7"/>
          <a:stretch>
            <a:fillRect/>
          </a:stretch>
        </p:blipFill>
        <p:spPr>
          <a:xfrm>
            <a:off x="5388104" y="1882904"/>
            <a:ext cx="1099881" cy="1099881"/>
          </a:xfrm>
          <a:prstGeom prst="rect">
            <a:avLst/>
          </a:prstGeom>
        </p:spPr>
      </p:pic>
    </p:spTree>
    <p:extLst>
      <p:ext uri="{BB962C8B-B14F-4D97-AF65-F5344CB8AC3E}">
        <p14:creationId xmlns:p14="http://schemas.microsoft.com/office/powerpoint/2010/main" val="3873788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wQAAwwAAAAAAAAAAAAAIAD///////////////8AAAD///////////////8DAAAAAgD///////8DAAAAAgD///////8DAAAAAgD///////8DAAAAAgD///////8DAAAAAgD///////8DAAAAAgD///////////////////////////////////////////////////////////////////////////////////////////////////////////////////////////////////////////////////////////////////////////////////////////////////////////////////////////////////////////////////////////////////////////////////////////////////////////////////////////////////////////////////////////////////////////////////////////////////////////////////////////////8BACAA////////////////AAAO////////AwAAAAMA////////////////////////////////////////////////////////////////////////////////////////////////////////////////////////////////////////////////////////////////////////////////////////////////////////////////////////////////////////////////////////////////////////////////////////////////////////////////////////////////////////////////////////////////////////////////////////////////////////////////////////////////////////////////////////////////////////////////////////////////////////////////////////AgAGAP///////wUAAAACABAAC7hcwmO75UZAiEtypBVBm3gEAAAAAAADAAAAAAADAAAAAwADAAAAAAADAAAAAwADAAAAAAD///////8DAAAAAAD///////8DAAAAAAD///////8DAAAAAAD///////8DAAIA////////BQAAAAMAEAALpwPlvf6VskGFyCaCplEqhQQ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CAI4OAAAAAAAAAAAAAP////+DAIMAAAAFX2lkABAAAAAEuFzCY7vlRkCIS3KkFUGbeANEYXRhABsAAAAETGlua2VkU2hhcGVEYXRhAAUAAAAAAAJOYW1lABkAAABMaW5rZWRTaGFwZXNEYXRhUHJvcGVydHkAEFZlcnNpb24AAQAAAAlMYXN0V3JpdGUAl8+UKJsBAAAAAQD/////xgDGAAAABV9pZAAQAAAABKcD5b3+lbJBhcgmgqZRKoUDRGF0YQBTAAAACFByZXNlbnRhdGlvblNjYW5uZWRGb3JMaW5rZWRTaGFwZXMAAAJOdW1iZXJGb3JtYXRTZXBhcmF0b3JNb2RlAAoAAABBdXRvbWF0aWMAAAJOYW1lACQAAABMaW5rZWRTaGFwZVByZXNlbnRhdGlvblNldHRpbmdzRGF0YQAQVmVyc2lvbgAAAAAACUxhc3RXcml0ZQC0z5Qo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AAIDAAAAAAAAAAAAAAgAf///////////////wAAAP///////////////wUAAAADAP///////wUAAAACAP///////wUAAAACAP///////wUAAAACAP///////////////////////////////////////////////////////////////////////////////////////////////////////////////////////////////////////////////////////////////////////////////////////////////////////////////////////////////////////////////////////////////////////////////////////////////////////////////////////////////////////////////////////////////////////////////////////////////////////////////////////////////////////////////////////////////wEAIAH///////////////8AAA7///////8FAAAAAgD///////////////////////////////////////////////////////////////////////////////////////////////////////////////////////////////////////////////////////////////////////////////////////////////////////////////////////////////////////////////////////////////////////////////////////////////////////////////////////////////////////////////////////////////////////////////////////////////////////////////////////////////////////////////////////////////////////////////////////////////////////////////////////8CAAQBAwAAAAIA////////GgAGTGlua2VkU2hhcGVzRGF0YVByb3BlcnR5XzEEAAAAAAAFAAAAAwAFAAAAAQAFAAAAAAD///////8FAAAAAAD///////8FAAAAAAD///////8DAAEBAwAAAAMA////////JQAGTGlua2VkU2hhcGVQcmVzZW50YXRpb25TZXR0aW5nc0RhdGFfMAQAAAAB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15091999543694"/>
  <p:tag name="EMPOWERCHARTSPROPERTIES_A_LENGTH" val="24576"/>
</p:tagLst>
</file>

<file path=ppt/tags/tag2.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3df9eefb-a076-418f-9139-34fa658f1c43"/>
  <p:tag name="MIO_HDS" val="True"/>
  <p:tag name="MIO_LASTDOWNLOADED" val="15.07.2025 11:28:31.044"/>
  <p:tag name="MIO_OBJECTNAME" val="July 15 2025 Template"/>
  <p:tag name="MIO_SKIPVERSION" val="01.01.0001 00:00:00"/>
  <p:tag name="MIO_UPDATE" val="True"/>
  <p:tag name="MIO_VERSION" val="15.07.2025 16:28:11"/>
</p:tagLst>
</file>

<file path=ppt/tags/tag3.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3df9eefb-a076-418f-9139-34fa658f1c43"/>
  <p:tag name="MIO_HDS" val="True"/>
  <p:tag name="MIO_LASTDOWNLOADED" val="15.07.2025 11:28:31.044"/>
  <p:tag name="MIO_OBJECTNAME" val="July 15 2025 Template"/>
  <p:tag name="MIO_SKIPVERSION" val="01.01.0001 00:00:00"/>
  <p:tag name="MIO_UPDATE" val="True"/>
  <p:tag name="MIO_VERSION" val="15.07.2025 16:28:11"/>
</p:tagLst>
</file>

<file path=ppt/theme/theme1.xml><?xml version="1.0" encoding="utf-8"?>
<a:theme xmlns:a="http://schemas.openxmlformats.org/drawingml/2006/main" name="1_Master theme with ribbon">
  <a:themeElements>
    <a:clrScheme name="ACCME 2025">
      <a:dk1>
        <a:srgbClr val="000000"/>
      </a:dk1>
      <a:lt1>
        <a:srgbClr val="FFFFFF"/>
      </a:lt1>
      <a:dk2>
        <a:srgbClr val="032437"/>
      </a:dk2>
      <a:lt2>
        <a:srgbClr val="F8F8F8"/>
      </a:lt2>
      <a:accent1>
        <a:srgbClr val="59B6E7"/>
      </a:accent1>
      <a:accent2>
        <a:srgbClr val="005D91"/>
      </a:accent2>
      <a:accent3>
        <a:srgbClr val="B6D669"/>
      </a:accent3>
      <a:accent4>
        <a:srgbClr val="6A395D"/>
      </a:accent4>
      <a:accent5>
        <a:srgbClr val="D8273F"/>
      </a:accent5>
      <a:accent6>
        <a:srgbClr val="F4854F"/>
      </a:accent6>
      <a:hlink>
        <a:srgbClr val="F16E6C"/>
      </a:hlink>
      <a:folHlink>
        <a:srgbClr val="736F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ter theme with ribbon" id="{0C6D8CFE-CC1A-4E53-B94B-CDDAD7108C98}" vid="{A2150819-8755-4C76-BB87-DAC42903C6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A7B6212-FCC8-5B4F-AECB-A2163C9A4814}">
  <we:reference id="wa104051163" version="1.2.0.3" store="en-US" storeType="OMEX"/>
  <we:alternateReferences>
    <we:reference id="WA104051163" version="1.2.0.3" store="WA1040511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Type xmlns="bcb126d8-f57f-46b5-8ba8-e318ab9cd9cb">02-Meeting Materials</Document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4F74AD9378ABB4586FEBB23A9F04B0D" ma:contentTypeVersion="3" ma:contentTypeDescription="Create a new document." ma:contentTypeScope="" ma:versionID="9d63fc8a8c2b63cb5b209392dd72ddc0">
  <xsd:schema xmlns:xsd="http://www.w3.org/2001/XMLSchema" xmlns:xs="http://www.w3.org/2001/XMLSchema" xmlns:p="http://schemas.microsoft.com/office/2006/metadata/properties" xmlns:ns2="bcb126d8-f57f-46b5-8ba8-e318ab9cd9cb" xmlns:ns3="44f0cfd5-9402-4be6-9ee5-4095c435db62" targetNamespace="http://schemas.microsoft.com/office/2006/metadata/properties" ma:root="true" ma:fieldsID="301517f5686b3a6b5eac0ff659d5f560" ns2:_="" ns3:_="">
    <xsd:import namespace="bcb126d8-f57f-46b5-8ba8-e318ab9cd9cb"/>
    <xsd:import namespace="44f0cfd5-9402-4be6-9ee5-4095c435db62"/>
    <xsd:element name="properties">
      <xsd:complexType>
        <xsd:sequence>
          <xsd:element name="documentManagement">
            <xsd:complexType>
              <xsd:all>
                <xsd:element ref="ns2:Document_x0020_Typ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26d8-f57f-46b5-8ba8-e318ab9cd9cb" elementFormDefault="qualified">
    <xsd:import namespace="http://schemas.microsoft.com/office/2006/documentManagement/types"/>
    <xsd:import namespace="http://schemas.microsoft.com/office/infopath/2007/PartnerControls"/>
    <xsd:element name="Document_x0020_Type" ma:index="8" nillable="true" ma:displayName="Document Type" ma:format="Dropdown" ma:internalName="Document_x0020_Type">
      <xsd:simpleType>
        <xsd:restriction base="dms:Choice">
          <xsd:enumeration value="01-Agenda"/>
          <xsd:enumeration value="02-Meeting Materials"/>
          <xsd:enumeration value="03-Event Logistics"/>
          <xsd:enumeration value="04-Confirmation of Arrangements"/>
          <xsd:enumeration value="05-Travel Arrangements"/>
          <xsd:enumeration value="06-Abstract Submission"/>
          <xsd:enumeration value="07-Post Meeting"/>
        </xsd:restriction>
      </xsd:simpleType>
    </xsd:element>
  </xsd:schema>
  <xsd:schema xmlns:xsd="http://www.w3.org/2001/XMLSchema" xmlns:xs="http://www.w3.org/2001/XMLSchema" xmlns:dms="http://schemas.microsoft.com/office/2006/documentManagement/types" xmlns:pc="http://schemas.microsoft.com/office/infopath/2007/PartnerControls" targetNamespace="44f0cfd5-9402-4be6-9ee5-4095c435db62"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F66302-3E70-4156-ABC0-FC6E4BC24B63}">
  <ds:schemaRefs>
    <ds:schemaRef ds:uri="bcb126d8-f57f-46b5-8ba8-e318ab9cd9cb"/>
    <ds:schemaRef ds:uri="http://www.w3.org/XML/1998/namespace"/>
    <ds:schemaRef ds:uri="http://schemas.microsoft.com/office/2006/metadata/properties"/>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44f0cfd5-9402-4be6-9ee5-4095c435db62"/>
    <ds:schemaRef ds:uri="http://purl.org/dc/dcmitype/"/>
  </ds:schemaRefs>
</ds:datastoreItem>
</file>

<file path=customXml/itemProps2.xml><?xml version="1.0" encoding="utf-8"?>
<ds:datastoreItem xmlns:ds="http://schemas.openxmlformats.org/officeDocument/2006/customXml" ds:itemID="{28D4408F-B145-4488-A9CE-D1C42790B514}">
  <ds:schemaRefs>
    <ds:schemaRef ds:uri="http://schemas.microsoft.com/sharepoint/v3/contenttype/forms"/>
  </ds:schemaRefs>
</ds:datastoreItem>
</file>

<file path=customXml/itemProps3.xml><?xml version="1.0" encoding="utf-8"?>
<ds:datastoreItem xmlns:ds="http://schemas.openxmlformats.org/officeDocument/2006/customXml" ds:itemID="{4145302C-39A6-475B-AA64-0CA338D817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26d8-f57f-46b5-8ba8-e318ab9cd9cb"/>
    <ds:schemaRef ds:uri="44f0cfd5-9402-4be6-9ee5-4095c435db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749</TotalTime>
  <Words>66</Words>
  <Application>Microsoft Office PowerPoint</Application>
  <PresentationFormat>On-screen Show (16:9)</PresentationFormat>
  <Paragraphs>8</Paragraphs>
  <Slides>1</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vt:i4>
      </vt:variant>
    </vt:vector>
  </HeadingPairs>
  <TitlesOfParts>
    <vt:vector size="8" baseType="lpstr">
      <vt:lpstr>Aptos</vt:lpstr>
      <vt:lpstr>Arial</vt:lpstr>
      <vt:lpstr>Manrope</vt:lpstr>
      <vt:lpstr>Manrope Medium</vt:lpstr>
      <vt:lpstr>Manrope SemiBold</vt:lpstr>
      <vt:lpstr>Wingdings</vt:lpstr>
      <vt:lpstr>1_Master theme with ribbon</vt:lpstr>
      <vt:lpstr>CME Passport: Claim Your Profile Your CME, Automatically Track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leb Hays</dc:creator>
  <cp:lastModifiedBy>Ellen Sullivan</cp:lastModifiedBy>
  <cp:revision>16</cp:revision>
  <cp:lastPrinted>2026-01-09T19:25:31Z</cp:lastPrinted>
  <dcterms:created xsi:type="dcterms:W3CDTF">2025-12-16T19:13:08Z</dcterms:created>
  <dcterms:modified xsi:type="dcterms:W3CDTF">2026-03-03T18:5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F74AD9378ABB4586FEBB23A9F04B0D</vt:lpwstr>
  </property>
</Properties>
</file>